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256" r:id="rId5"/>
    <p:sldId id="779" r:id="rId6"/>
    <p:sldId id="790" r:id="rId7"/>
    <p:sldId id="786" r:id="rId8"/>
    <p:sldId id="830" r:id="rId9"/>
    <p:sldId id="831" r:id="rId10"/>
    <p:sldId id="828" r:id="rId11"/>
    <p:sldId id="832" r:id="rId12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60">
          <p15:clr>
            <a:srgbClr val="A4A3A4"/>
          </p15:clr>
        </p15:guide>
        <p15:guide id="4" orient="horz" pos="17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ecilia Pinto Taylor" initials="CPT" lastIdx="2" clrIdx="0"/>
  <p:cmAuthor id="2" name="Alvino Wildschutt-Prins" initials="AW" lastIdx="6" clrIdx="1"/>
  <p:cmAuthor id="3" name="Yumna Emeran" initials="YE" lastIdx="9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A81C"/>
    <a:srgbClr val="D34727"/>
    <a:srgbClr val="402020"/>
    <a:srgbClr val="A5A5A5"/>
    <a:srgbClr val="767171"/>
    <a:srgbClr val="FBB040"/>
    <a:srgbClr val="E24F25"/>
    <a:srgbClr val="00CC00"/>
    <a:srgbClr val="FEC057"/>
    <a:srgbClr val="7570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9639FAA-BFBB-1F7A-A7DE-9343815499E7}" v="1" dt="2022-09-12T21:52:21.056"/>
    <p1510:client id="{BBEFD394-A807-14BB-53E2-E273BC576D7E}" v="146" dt="2022-09-12T21:45:35.894"/>
    <p1510:client id="{BFFB2DA8-5B07-A393-5829-2CAD25494591}" v="65" dt="2022-09-12T21:13:35.732"/>
    <p1510:client id="{C2FBB0B1-B738-4094-BA77-25DCA5687413}" v="3" dt="2022-09-13T07:57:43.076"/>
    <p1510:client id="{D3B03A9F-C8BD-1A48-94DE-EA45A967F9A3}" v="11" dt="2022-09-15T08:16:12.054"/>
    <p1510:client id="{D43872BE-6EDE-9322-12A0-673CECD16AEC}" v="15" dt="2022-09-12T09:23:23.106"/>
    <p1510:client id="{D5CCEA2A-9B2F-57D8-C92D-234A7F55A258}" v="22" dt="2022-09-12T09:55:02.356"/>
    <p1510:client id="{EC880CA2-41D2-49C1-7A7E-3B6BCDCDB3B6}" v="9" dt="2022-09-14T16:13:12.73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pos="3840"/>
        <p:guide orient="horz" pos="2160"/>
        <p:guide orient="horz" pos="1752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ongo Bacela" userId="S::bongob@dbsa.org::f8a4887f-a292-4545-819f-34bffa7b62f5" providerId="AD" clId="Web-{D3B03A9F-C8BD-1A48-94DE-EA45A967F9A3}"/>
    <pc:docChg chg="modSld">
      <pc:chgData name="Bongo Bacela" userId="S::bongob@dbsa.org::f8a4887f-a292-4545-819f-34bffa7b62f5" providerId="AD" clId="Web-{D3B03A9F-C8BD-1A48-94DE-EA45A967F9A3}" dt="2022-09-15T08:16:11.523" v="8" actId="20577"/>
      <pc:docMkLst>
        <pc:docMk/>
      </pc:docMkLst>
      <pc:sldChg chg="modSp">
        <pc:chgData name="Bongo Bacela" userId="S::bongob@dbsa.org::f8a4887f-a292-4545-819f-34bffa7b62f5" providerId="AD" clId="Web-{D3B03A9F-C8BD-1A48-94DE-EA45A967F9A3}" dt="2022-09-15T08:16:11.523" v="8" actId="20577"/>
        <pc:sldMkLst>
          <pc:docMk/>
          <pc:sldMk cId="270006466" sldId="790"/>
        </pc:sldMkLst>
        <pc:spChg chg="mod">
          <ac:chgData name="Bongo Bacela" userId="S::bongob@dbsa.org::f8a4887f-a292-4545-819f-34bffa7b62f5" providerId="AD" clId="Web-{D3B03A9F-C8BD-1A48-94DE-EA45A967F9A3}" dt="2022-09-15T08:15:52.132" v="3" actId="20577"/>
          <ac:spMkLst>
            <pc:docMk/>
            <pc:sldMk cId="270006466" sldId="790"/>
            <ac:spMk id="9" creationId="{97E1A96A-90D1-4F2E-97C8-B751D8F2792A}"/>
          </ac:spMkLst>
        </pc:spChg>
        <pc:spChg chg="mod">
          <ac:chgData name="Bongo Bacela" userId="S::bongob@dbsa.org::f8a4887f-a292-4545-819f-34bffa7b62f5" providerId="AD" clId="Web-{D3B03A9F-C8BD-1A48-94DE-EA45A967F9A3}" dt="2022-09-15T08:16:11.523" v="8" actId="20577"/>
          <ac:spMkLst>
            <pc:docMk/>
            <pc:sldMk cId="270006466" sldId="790"/>
            <ac:spMk id="28" creationId="{CDFDD8D2-E658-4C62-B000-AE2911AAABC6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4006A63-FF5F-4891-9E61-0B9A445D014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E60994D-F9ED-41CC-872A-C8E8A58A873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841FAA-0DE7-44A9-A811-9F2BA88BDE4D}" type="datetimeFigureOut">
              <a:rPr lang="en-ZA" smtClean="0"/>
              <a:t>2022/09/15</a:t>
            </a:fld>
            <a:endParaRPr lang="en-Z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B0FEA8-25DF-4273-ADEF-B0101AB07D3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CFB541-702C-43F8-BD62-71BA78BC910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18BE4D-6E48-4A18-AED1-9C6402B0D8B7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5966058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3EE076-885C-9E4C-B1B4-BA818F699C90}" type="datetimeFigureOut">
              <a:rPr lang="en-US" smtClean="0"/>
              <a:t>9/15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1E5D0C-BB67-3846-ABCD-0297B66574F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41604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5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Picture Placeholder 86">
            <a:extLst>
              <a:ext uri="{FF2B5EF4-FFF2-40B4-BE49-F238E27FC236}">
                <a16:creationId xmlns:a16="http://schemas.microsoft.com/office/drawing/2014/main" id="{C10EA07F-559A-45E1-84CA-7A317E8F52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625975"/>
          </a:xfrm>
          <a:custGeom>
            <a:avLst/>
            <a:gdLst>
              <a:gd name="connsiteX0" fmla="*/ 2751830 w 12192000"/>
              <a:gd name="connsiteY0" fmla="*/ 945364 h 4625975"/>
              <a:gd name="connsiteX1" fmla="*/ 1467201 w 12192000"/>
              <a:gd name="connsiteY1" fmla="*/ 2045565 h 4625975"/>
              <a:gd name="connsiteX2" fmla="*/ 1041112 w 12192000"/>
              <a:gd name="connsiteY2" fmla="*/ 4625952 h 4625975"/>
              <a:gd name="connsiteX3" fmla="*/ 1281185 w 12192000"/>
              <a:gd name="connsiteY3" fmla="*/ 4625952 h 4625975"/>
              <a:gd name="connsiteX4" fmla="*/ 1691375 w 12192000"/>
              <a:gd name="connsiteY4" fmla="*/ 2102802 h 4625975"/>
              <a:gd name="connsiteX5" fmla="*/ 2751830 w 12192000"/>
              <a:gd name="connsiteY5" fmla="*/ 1125021 h 4625975"/>
              <a:gd name="connsiteX6" fmla="*/ 960028 w 12192000"/>
              <a:gd name="connsiteY6" fmla="*/ 396853 h 4625975"/>
              <a:gd name="connsiteX7" fmla="*/ 875764 w 12192000"/>
              <a:gd name="connsiteY7" fmla="*/ 552662 h 4625975"/>
              <a:gd name="connsiteX8" fmla="*/ 1282776 w 12192000"/>
              <a:gd name="connsiteY8" fmla="*/ 1848420 h 4625975"/>
              <a:gd name="connsiteX9" fmla="*/ 1465613 w 12192000"/>
              <a:gd name="connsiteY9" fmla="*/ 1563831 h 4625975"/>
              <a:gd name="connsiteX10" fmla="*/ 960028 w 12192000"/>
              <a:gd name="connsiteY10" fmla="*/ 396853 h 4625975"/>
              <a:gd name="connsiteX11" fmla="*/ 0 w 12192000"/>
              <a:gd name="connsiteY11" fmla="*/ 0 h 4625975"/>
              <a:gd name="connsiteX12" fmla="*/ 12192000 w 12192000"/>
              <a:gd name="connsiteY12" fmla="*/ 0 h 4625975"/>
              <a:gd name="connsiteX13" fmla="*/ 12192000 w 12192000"/>
              <a:gd name="connsiteY13" fmla="*/ 4625975 h 4625975"/>
              <a:gd name="connsiteX14" fmla="*/ 0 w 12192000"/>
              <a:gd name="connsiteY14" fmla="*/ 4625975 h 4625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0" h="4625975">
                <a:moveTo>
                  <a:pt x="2751830" y="945364"/>
                </a:moveTo>
                <a:cubicBezTo>
                  <a:pt x="2751830" y="945364"/>
                  <a:pt x="2044330" y="1140920"/>
                  <a:pt x="1467201" y="2045565"/>
                </a:cubicBezTo>
                <a:cubicBezTo>
                  <a:pt x="890073" y="2951802"/>
                  <a:pt x="1041112" y="4625952"/>
                  <a:pt x="1041112" y="4625952"/>
                </a:cubicBezTo>
                <a:lnTo>
                  <a:pt x="1281185" y="4625952"/>
                </a:lnTo>
                <a:cubicBezTo>
                  <a:pt x="1281185" y="4625952"/>
                  <a:pt x="1104707" y="2991549"/>
                  <a:pt x="1691375" y="2102802"/>
                </a:cubicBezTo>
                <a:cubicBezTo>
                  <a:pt x="2278043" y="1212465"/>
                  <a:pt x="2751830" y="1125021"/>
                  <a:pt x="2751830" y="1125021"/>
                </a:cubicBezTo>
                <a:close/>
                <a:moveTo>
                  <a:pt x="960028" y="396853"/>
                </a:moveTo>
                <a:lnTo>
                  <a:pt x="875764" y="552662"/>
                </a:lnTo>
                <a:cubicBezTo>
                  <a:pt x="875764" y="552662"/>
                  <a:pt x="1217591" y="811814"/>
                  <a:pt x="1282776" y="1848420"/>
                </a:cubicBezTo>
                <a:lnTo>
                  <a:pt x="1465613" y="1563831"/>
                </a:lnTo>
                <a:cubicBezTo>
                  <a:pt x="1338422" y="770476"/>
                  <a:pt x="960028" y="396853"/>
                  <a:pt x="960028" y="396853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4625975"/>
                </a:lnTo>
                <a:lnTo>
                  <a:pt x="0" y="4625975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ZA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06162BA-E0D2-4F20-B19B-B43540BEAE25}"/>
              </a:ext>
            </a:extLst>
          </p:cNvPr>
          <p:cNvSpPr/>
          <p:nvPr userDrawn="1"/>
        </p:nvSpPr>
        <p:spPr>
          <a:xfrm>
            <a:off x="-600" y="4625951"/>
            <a:ext cx="12193200" cy="223204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D0B29E09-B633-4294-8360-AE355F6F7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55897" y="3403782"/>
            <a:ext cx="9180000" cy="1216498"/>
          </a:xfrm>
        </p:spPr>
        <p:txBody>
          <a:bodyPr bIns="180000" anchor="b">
            <a:normAutofit/>
          </a:bodyPr>
          <a:lstStyle>
            <a:lvl1pPr algn="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grpSp>
        <p:nvGrpSpPr>
          <p:cNvPr id="7213" name="Group 7212">
            <a:extLst>
              <a:ext uri="{FF2B5EF4-FFF2-40B4-BE49-F238E27FC236}">
                <a16:creationId xmlns:a16="http://schemas.microsoft.com/office/drawing/2014/main" id="{365F65F2-1769-45F1-80F7-2CDCC43B714D}"/>
              </a:ext>
            </a:extLst>
          </p:cNvPr>
          <p:cNvGrpSpPr/>
          <p:nvPr userDrawn="1"/>
        </p:nvGrpSpPr>
        <p:grpSpPr>
          <a:xfrm>
            <a:off x="535475" y="4847873"/>
            <a:ext cx="2120421" cy="1301691"/>
            <a:chOff x="707995" y="4847873"/>
            <a:chExt cx="2120421" cy="1301691"/>
          </a:xfrm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C040ED53-4B19-4CD6-A436-C683FE060FBF}"/>
                </a:ext>
              </a:extLst>
            </p:cNvPr>
            <p:cNvSpPr/>
            <p:nvPr/>
          </p:nvSpPr>
          <p:spPr>
            <a:xfrm>
              <a:off x="708519" y="5186784"/>
              <a:ext cx="455723" cy="565725"/>
            </a:xfrm>
            <a:custGeom>
              <a:avLst/>
              <a:gdLst>
                <a:gd name="connsiteX0" fmla="*/ 409627 w 455722"/>
                <a:gd name="connsiteY0" fmla="*/ 284434 h 565724"/>
                <a:gd name="connsiteX1" fmla="*/ 178099 w 455722"/>
                <a:gd name="connsiteY1" fmla="*/ 44525 h 565724"/>
                <a:gd name="connsiteX2" fmla="*/ 47668 w 455722"/>
                <a:gd name="connsiteY2" fmla="*/ 44525 h 565724"/>
                <a:gd name="connsiteX3" fmla="*/ 47668 w 455722"/>
                <a:gd name="connsiteY3" fmla="*/ 523819 h 565724"/>
                <a:gd name="connsiteX4" fmla="*/ 178099 w 455722"/>
                <a:gd name="connsiteY4" fmla="*/ 523819 h 565724"/>
                <a:gd name="connsiteX5" fmla="*/ 409627 w 455722"/>
                <a:gd name="connsiteY5" fmla="*/ 284434 h 565724"/>
                <a:gd name="connsiteX6" fmla="*/ 0 w 455722"/>
                <a:gd name="connsiteY6" fmla="*/ 567820 h 565724"/>
                <a:gd name="connsiteX7" fmla="*/ 0 w 455722"/>
                <a:gd name="connsiteY7" fmla="*/ 0 h 565724"/>
                <a:gd name="connsiteX8" fmla="*/ 178099 w 455722"/>
                <a:gd name="connsiteY8" fmla="*/ 0 h 565724"/>
                <a:gd name="connsiteX9" fmla="*/ 459914 w 455722"/>
                <a:gd name="connsiteY9" fmla="*/ 284434 h 565724"/>
                <a:gd name="connsiteX10" fmla="*/ 178099 w 455722"/>
                <a:gd name="connsiteY10" fmla="*/ 567820 h 565724"/>
                <a:gd name="connsiteX11" fmla="*/ 0 w 455722"/>
                <a:gd name="connsiteY11" fmla="*/ 567820 h 565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55722" h="565724">
                  <a:moveTo>
                    <a:pt x="409627" y="284434"/>
                  </a:moveTo>
                  <a:cubicBezTo>
                    <a:pt x="409627" y="151908"/>
                    <a:pt x="325816" y="44525"/>
                    <a:pt x="178099" y="44525"/>
                  </a:cubicBezTo>
                  <a:lnTo>
                    <a:pt x="47668" y="44525"/>
                  </a:lnTo>
                  <a:lnTo>
                    <a:pt x="47668" y="523819"/>
                  </a:lnTo>
                  <a:lnTo>
                    <a:pt x="178099" y="523819"/>
                  </a:lnTo>
                  <a:cubicBezTo>
                    <a:pt x="325292" y="523819"/>
                    <a:pt x="409627" y="417484"/>
                    <a:pt x="409627" y="284434"/>
                  </a:cubicBezTo>
                  <a:moveTo>
                    <a:pt x="0" y="567820"/>
                  </a:moveTo>
                  <a:lnTo>
                    <a:pt x="0" y="0"/>
                  </a:lnTo>
                  <a:lnTo>
                    <a:pt x="178099" y="0"/>
                  </a:lnTo>
                  <a:cubicBezTo>
                    <a:pt x="350959" y="0"/>
                    <a:pt x="459914" y="128336"/>
                    <a:pt x="459914" y="284434"/>
                  </a:cubicBezTo>
                  <a:cubicBezTo>
                    <a:pt x="459914" y="442104"/>
                    <a:pt x="351483" y="567820"/>
                    <a:pt x="178099" y="567820"/>
                  </a:cubicBezTo>
                  <a:lnTo>
                    <a:pt x="0" y="567820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A90815E-A139-4678-B1CA-EC466E6D0D14}"/>
                </a:ext>
              </a:extLst>
            </p:cNvPr>
            <p:cNvSpPr/>
            <p:nvPr/>
          </p:nvSpPr>
          <p:spPr>
            <a:xfrm>
              <a:off x="1809064" y="5178403"/>
              <a:ext cx="398103" cy="586678"/>
            </a:xfrm>
            <a:custGeom>
              <a:avLst/>
              <a:gdLst>
                <a:gd name="connsiteX0" fmla="*/ 0 w 398102"/>
                <a:gd name="connsiteY0" fmla="*/ 496581 h 586677"/>
                <a:gd name="connsiteX1" fmla="*/ 30905 w 398102"/>
                <a:gd name="connsiteY1" fmla="*/ 459913 h 586677"/>
                <a:gd name="connsiteX2" fmla="*/ 205337 w 398102"/>
                <a:gd name="connsiteY2" fmla="*/ 542677 h 586677"/>
                <a:gd name="connsiteX3" fmla="*/ 351483 w 398102"/>
                <a:gd name="connsiteY3" fmla="*/ 429532 h 586677"/>
                <a:gd name="connsiteX4" fmla="*/ 17286 w 398102"/>
                <a:gd name="connsiteY4" fmla="*/ 151384 h 586677"/>
                <a:gd name="connsiteX5" fmla="*/ 200099 w 398102"/>
                <a:gd name="connsiteY5" fmla="*/ 0 h 586677"/>
                <a:gd name="connsiteX6" fmla="*/ 389198 w 398102"/>
                <a:gd name="connsiteY6" fmla="*/ 80144 h 586677"/>
                <a:gd name="connsiteX7" fmla="*/ 357245 w 398102"/>
                <a:gd name="connsiteY7" fmla="*/ 115764 h 586677"/>
                <a:gd name="connsiteX8" fmla="*/ 197480 w 398102"/>
                <a:gd name="connsiteY8" fmla="*/ 44001 h 586677"/>
                <a:gd name="connsiteX9" fmla="*/ 67049 w 398102"/>
                <a:gd name="connsiteY9" fmla="*/ 148765 h 586677"/>
                <a:gd name="connsiteX10" fmla="*/ 401246 w 398102"/>
                <a:gd name="connsiteY10" fmla="*/ 426389 h 586677"/>
                <a:gd name="connsiteX11" fmla="*/ 203242 w 398102"/>
                <a:gd name="connsiteY11" fmla="*/ 587201 h 586677"/>
                <a:gd name="connsiteX12" fmla="*/ 0 w 398102"/>
                <a:gd name="connsiteY12" fmla="*/ 496581 h 586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98102" h="586677">
                  <a:moveTo>
                    <a:pt x="0" y="496581"/>
                  </a:moveTo>
                  <a:lnTo>
                    <a:pt x="30905" y="459913"/>
                  </a:lnTo>
                  <a:cubicBezTo>
                    <a:pt x="67049" y="501819"/>
                    <a:pt x="125193" y="542677"/>
                    <a:pt x="205337" y="542677"/>
                  </a:cubicBezTo>
                  <a:cubicBezTo>
                    <a:pt x="319006" y="542677"/>
                    <a:pt x="351483" y="478247"/>
                    <a:pt x="351483" y="429532"/>
                  </a:cubicBezTo>
                  <a:cubicBezTo>
                    <a:pt x="351483" y="262433"/>
                    <a:pt x="17286" y="349387"/>
                    <a:pt x="17286" y="151384"/>
                  </a:cubicBezTo>
                  <a:cubicBezTo>
                    <a:pt x="17286" y="58668"/>
                    <a:pt x="99002" y="0"/>
                    <a:pt x="200099" y="0"/>
                  </a:cubicBezTo>
                  <a:cubicBezTo>
                    <a:pt x="282863" y="0"/>
                    <a:pt x="346245" y="29858"/>
                    <a:pt x="389198" y="80144"/>
                  </a:cubicBezTo>
                  <a:lnTo>
                    <a:pt x="357245" y="115764"/>
                  </a:lnTo>
                  <a:cubicBezTo>
                    <a:pt x="316911" y="66525"/>
                    <a:pt x="260338" y="44001"/>
                    <a:pt x="197480" y="44001"/>
                  </a:cubicBezTo>
                  <a:cubicBezTo>
                    <a:pt x="123098" y="44001"/>
                    <a:pt x="67049" y="87478"/>
                    <a:pt x="67049" y="148765"/>
                  </a:cubicBezTo>
                  <a:cubicBezTo>
                    <a:pt x="67049" y="294386"/>
                    <a:pt x="401246" y="214242"/>
                    <a:pt x="401246" y="426389"/>
                  </a:cubicBezTo>
                  <a:cubicBezTo>
                    <a:pt x="401246" y="499724"/>
                    <a:pt x="353578" y="587201"/>
                    <a:pt x="203242" y="587201"/>
                  </a:cubicBezTo>
                  <a:cubicBezTo>
                    <a:pt x="111574" y="586678"/>
                    <a:pt x="42429" y="548439"/>
                    <a:pt x="0" y="496581"/>
                  </a:cubicBezTo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15023C7-3915-45CD-B414-144281EE351A}"/>
                </a:ext>
              </a:extLst>
            </p:cNvPr>
            <p:cNvSpPr/>
            <p:nvPr/>
          </p:nvSpPr>
          <p:spPr>
            <a:xfrm>
              <a:off x="2310883" y="5186784"/>
              <a:ext cx="513343" cy="565725"/>
            </a:xfrm>
            <a:custGeom>
              <a:avLst/>
              <a:gdLst>
                <a:gd name="connsiteX0" fmla="*/ 125717 w 513343"/>
                <a:gd name="connsiteY0" fmla="*/ 383960 h 565724"/>
                <a:gd name="connsiteX1" fmla="*/ 389198 w 513343"/>
                <a:gd name="connsiteY1" fmla="*/ 383960 h 565724"/>
                <a:gd name="connsiteX2" fmla="*/ 258243 w 513343"/>
                <a:gd name="connsiteY2" fmla="*/ 51858 h 565724"/>
                <a:gd name="connsiteX3" fmla="*/ 125717 w 513343"/>
                <a:gd name="connsiteY3" fmla="*/ 383960 h 565724"/>
                <a:gd name="connsiteX4" fmla="*/ 459913 w 513343"/>
                <a:gd name="connsiteY4" fmla="*/ 567820 h 565724"/>
                <a:gd name="connsiteX5" fmla="*/ 404912 w 513343"/>
                <a:gd name="connsiteY5" fmla="*/ 428484 h 565724"/>
                <a:gd name="connsiteX6" fmla="*/ 110002 w 513343"/>
                <a:gd name="connsiteY6" fmla="*/ 428484 h 565724"/>
                <a:gd name="connsiteX7" fmla="*/ 55001 w 513343"/>
                <a:gd name="connsiteY7" fmla="*/ 567820 h 565724"/>
                <a:gd name="connsiteX8" fmla="*/ 0 w 513343"/>
                <a:gd name="connsiteY8" fmla="*/ 567820 h 565724"/>
                <a:gd name="connsiteX9" fmla="*/ 228385 w 513343"/>
                <a:gd name="connsiteY9" fmla="*/ 0 h 565724"/>
                <a:gd name="connsiteX10" fmla="*/ 287577 w 513343"/>
                <a:gd name="connsiteY10" fmla="*/ 0 h 565724"/>
                <a:gd name="connsiteX11" fmla="*/ 515962 w 513343"/>
                <a:gd name="connsiteY11" fmla="*/ 567820 h 565724"/>
                <a:gd name="connsiteX12" fmla="*/ 459913 w 513343"/>
                <a:gd name="connsiteY12" fmla="*/ 567820 h 5657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13343" h="565724">
                  <a:moveTo>
                    <a:pt x="125717" y="383960"/>
                  </a:moveTo>
                  <a:lnTo>
                    <a:pt x="389198" y="383960"/>
                  </a:lnTo>
                  <a:lnTo>
                    <a:pt x="258243" y="51858"/>
                  </a:lnTo>
                  <a:lnTo>
                    <a:pt x="125717" y="383960"/>
                  </a:lnTo>
                  <a:close/>
                  <a:moveTo>
                    <a:pt x="459913" y="567820"/>
                  </a:moveTo>
                  <a:lnTo>
                    <a:pt x="404912" y="428484"/>
                  </a:lnTo>
                  <a:lnTo>
                    <a:pt x="110002" y="428484"/>
                  </a:lnTo>
                  <a:lnTo>
                    <a:pt x="55001" y="567820"/>
                  </a:lnTo>
                  <a:lnTo>
                    <a:pt x="0" y="567820"/>
                  </a:lnTo>
                  <a:lnTo>
                    <a:pt x="228385" y="0"/>
                  </a:lnTo>
                  <a:lnTo>
                    <a:pt x="287577" y="0"/>
                  </a:lnTo>
                  <a:lnTo>
                    <a:pt x="515962" y="567820"/>
                  </a:lnTo>
                  <a:lnTo>
                    <a:pt x="459913" y="567820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74ED9495-B7FF-4543-86C7-A5AAC0CCA221}"/>
                </a:ext>
              </a:extLst>
            </p:cNvPr>
            <p:cNvSpPr/>
            <p:nvPr/>
          </p:nvSpPr>
          <p:spPr>
            <a:xfrm>
              <a:off x="1265339" y="4847873"/>
              <a:ext cx="120478" cy="309053"/>
            </a:xfrm>
            <a:custGeom>
              <a:avLst/>
              <a:gdLst>
                <a:gd name="connsiteX0" fmla="*/ 85906 w 120478"/>
                <a:gd name="connsiteY0" fmla="*/ 311149 h 309053"/>
                <a:gd name="connsiteX1" fmla="*/ 0 w 120478"/>
                <a:gd name="connsiteY1" fmla="*/ 33524 h 309053"/>
                <a:gd name="connsiteX2" fmla="*/ 17810 w 120478"/>
                <a:gd name="connsiteY2" fmla="*/ 0 h 309053"/>
                <a:gd name="connsiteX3" fmla="*/ 124145 w 120478"/>
                <a:gd name="connsiteY3" fmla="*/ 250386 h 309053"/>
                <a:gd name="connsiteX4" fmla="*/ 85906 w 120478"/>
                <a:gd name="connsiteY4" fmla="*/ 311149 h 3090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478" h="309053">
                  <a:moveTo>
                    <a:pt x="85906" y="311149"/>
                  </a:moveTo>
                  <a:cubicBezTo>
                    <a:pt x="72287" y="89049"/>
                    <a:pt x="0" y="33524"/>
                    <a:pt x="0" y="33524"/>
                  </a:cubicBezTo>
                  <a:lnTo>
                    <a:pt x="17810" y="0"/>
                  </a:lnTo>
                  <a:cubicBezTo>
                    <a:pt x="17810" y="0"/>
                    <a:pt x="97430" y="80144"/>
                    <a:pt x="124145" y="250386"/>
                  </a:cubicBezTo>
                  <a:lnTo>
                    <a:pt x="85906" y="311149"/>
                  </a:lnTo>
                  <a:close/>
                </a:path>
              </a:pathLst>
            </a:custGeom>
            <a:solidFill>
              <a:srgbClr val="FBAF3F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3FB0A71-0469-4C21-925B-F8DD3D9F7C90}"/>
                </a:ext>
              </a:extLst>
            </p:cNvPr>
            <p:cNvSpPr/>
            <p:nvPr/>
          </p:nvSpPr>
          <p:spPr>
            <a:xfrm>
              <a:off x="1296137" y="4965209"/>
              <a:ext cx="403341" cy="785729"/>
            </a:xfrm>
            <a:custGeom>
              <a:avLst/>
              <a:gdLst>
                <a:gd name="connsiteX0" fmla="*/ 236350 w 403341"/>
                <a:gd name="connsiteY0" fmla="*/ 745395 h 785728"/>
                <a:gd name="connsiteX1" fmla="*/ 159872 w 403341"/>
                <a:gd name="connsiteY1" fmla="*/ 745395 h 785728"/>
                <a:gd name="connsiteX2" fmla="*/ 159872 w 403341"/>
                <a:gd name="connsiteY2" fmla="*/ 745395 h 785728"/>
                <a:gd name="connsiteX3" fmla="*/ 50918 w 403341"/>
                <a:gd name="connsiteY3" fmla="*/ 745395 h 785728"/>
                <a:gd name="connsiteX4" fmla="*/ 56680 w 403341"/>
                <a:gd name="connsiteY4" fmla="*/ 520676 h 785728"/>
                <a:gd name="connsiteX5" fmla="*/ 98061 w 403341"/>
                <a:gd name="connsiteY5" fmla="*/ 520676 h 785728"/>
                <a:gd name="connsiteX6" fmla="*/ 98061 w 403341"/>
                <a:gd name="connsiteY6" fmla="*/ 520676 h 785728"/>
                <a:gd name="connsiteX7" fmla="*/ 150443 w 403341"/>
                <a:gd name="connsiteY7" fmla="*/ 520676 h 785728"/>
                <a:gd name="connsiteX8" fmla="*/ 176110 w 403341"/>
                <a:gd name="connsiteY8" fmla="*/ 520676 h 785728"/>
                <a:gd name="connsiteX9" fmla="*/ 235826 w 403341"/>
                <a:gd name="connsiteY9" fmla="*/ 520676 h 785728"/>
                <a:gd name="connsiteX10" fmla="*/ 352638 w 403341"/>
                <a:gd name="connsiteY10" fmla="*/ 633298 h 785728"/>
                <a:gd name="connsiteX11" fmla="*/ 236350 w 403341"/>
                <a:gd name="connsiteY11" fmla="*/ 745395 h 785728"/>
                <a:gd name="connsiteX12" fmla="*/ 130014 w 403341"/>
                <a:gd name="connsiteY12" fmla="*/ 266100 h 785728"/>
                <a:gd name="connsiteX13" fmla="*/ 175063 w 403341"/>
                <a:gd name="connsiteY13" fmla="*/ 266100 h 785728"/>
                <a:gd name="connsiteX14" fmla="*/ 233207 w 403341"/>
                <a:gd name="connsiteY14" fmla="*/ 266100 h 785728"/>
                <a:gd name="connsiteX15" fmla="*/ 342685 w 403341"/>
                <a:gd name="connsiteY15" fmla="*/ 371388 h 785728"/>
                <a:gd name="connsiteX16" fmla="*/ 233207 w 403341"/>
                <a:gd name="connsiteY16" fmla="*/ 476152 h 785728"/>
                <a:gd name="connsiteX17" fmla="*/ 91775 w 403341"/>
                <a:gd name="connsiteY17" fmla="*/ 476152 h 785728"/>
                <a:gd name="connsiteX18" fmla="*/ 62965 w 403341"/>
                <a:gd name="connsiteY18" fmla="*/ 476152 h 785728"/>
                <a:gd name="connsiteX19" fmla="*/ 130014 w 403341"/>
                <a:gd name="connsiteY19" fmla="*/ 266100 h 785728"/>
                <a:gd name="connsiteX20" fmla="*/ 295017 w 403341"/>
                <a:gd name="connsiteY20" fmla="*/ 496581 h 785728"/>
                <a:gd name="connsiteX21" fmla="*/ 392972 w 403341"/>
                <a:gd name="connsiteY21" fmla="*/ 366150 h 785728"/>
                <a:gd name="connsiteX22" fmla="*/ 380400 w 403341"/>
                <a:gd name="connsiteY22" fmla="*/ 301720 h 785728"/>
                <a:gd name="connsiteX23" fmla="*/ 344780 w 403341"/>
                <a:gd name="connsiteY23" fmla="*/ 254576 h 785728"/>
                <a:gd name="connsiteX24" fmla="*/ 288732 w 403341"/>
                <a:gd name="connsiteY24" fmla="*/ 227338 h 785728"/>
                <a:gd name="connsiteX25" fmla="*/ 223254 w 403341"/>
                <a:gd name="connsiteY25" fmla="*/ 221576 h 785728"/>
                <a:gd name="connsiteX26" fmla="*/ 158824 w 403341"/>
                <a:gd name="connsiteY26" fmla="*/ 221576 h 785728"/>
                <a:gd name="connsiteX27" fmla="*/ 364162 w 403341"/>
                <a:gd name="connsiteY27" fmla="*/ 38763 h 785728"/>
                <a:gd name="connsiteX28" fmla="*/ 364162 w 403341"/>
                <a:gd name="connsiteY28" fmla="*/ 0 h 785728"/>
                <a:gd name="connsiteX29" fmla="*/ 93871 w 403341"/>
                <a:gd name="connsiteY29" fmla="*/ 236243 h 785728"/>
                <a:gd name="connsiteX30" fmla="*/ 3774 w 403341"/>
                <a:gd name="connsiteY30" fmla="*/ 789396 h 785728"/>
                <a:gd name="connsiteX31" fmla="*/ 44632 w 403341"/>
                <a:gd name="connsiteY31" fmla="*/ 789396 h 785728"/>
                <a:gd name="connsiteX32" fmla="*/ 94918 w 403341"/>
                <a:gd name="connsiteY32" fmla="*/ 789396 h 785728"/>
                <a:gd name="connsiteX33" fmla="*/ 145729 w 403341"/>
                <a:gd name="connsiteY33" fmla="*/ 789396 h 785728"/>
                <a:gd name="connsiteX34" fmla="*/ 181349 w 403341"/>
                <a:gd name="connsiteY34" fmla="*/ 789396 h 785728"/>
                <a:gd name="connsiteX35" fmla="*/ 244207 w 403341"/>
                <a:gd name="connsiteY35" fmla="*/ 789396 h 785728"/>
                <a:gd name="connsiteX36" fmla="*/ 403972 w 403341"/>
                <a:gd name="connsiteY36" fmla="*/ 636440 h 785728"/>
                <a:gd name="connsiteX37" fmla="*/ 295017 w 403341"/>
                <a:gd name="connsiteY37" fmla="*/ 496581 h 785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03341" h="785728">
                  <a:moveTo>
                    <a:pt x="236350" y="745395"/>
                  </a:moveTo>
                  <a:lnTo>
                    <a:pt x="159872" y="745395"/>
                  </a:lnTo>
                  <a:lnTo>
                    <a:pt x="159872" y="745395"/>
                  </a:lnTo>
                  <a:lnTo>
                    <a:pt x="50918" y="745395"/>
                  </a:lnTo>
                  <a:cubicBezTo>
                    <a:pt x="48298" y="696156"/>
                    <a:pt x="46727" y="611821"/>
                    <a:pt x="56680" y="520676"/>
                  </a:cubicBezTo>
                  <a:lnTo>
                    <a:pt x="98061" y="520676"/>
                  </a:lnTo>
                  <a:lnTo>
                    <a:pt x="98061" y="520676"/>
                  </a:lnTo>
                  <a:lnTo>
                    <a:pt x="150443" y="520676"/>
                  </a:lnTo>
                  <a:lnTo>
                    <a:pt x="176110" y="520676"/>
                  </a:lnTo>
                  <a:lnTo>
                    <a:pt x="235826" y="520676"/>
                  </a:lnTo>
                  <a:cubicBezTo>
                    <a:pt x="313351" y="520676"/>
                    <a:pt x="352638" y="575154"/>
                    <a:pt x="352638" y="633298"/>
                  </a:cubicBezTo>
                  <a:cubicBezTo>
                    <a:pt x="353685" y="701918"/>
                    <a:pt x="310208" y="745395"/>
                    <a:pt x="236350" y="745395"/>
                  </a:cubicBezTo>
                  <a:moveTo>
                    <a:pt x="130014" y="266100"/>
                  </a:moveTo>
                  <a:cubicBezTo>
                    <a:pt x="130014" y="266100"/>
                    <a:pt x="175063" y="266100"/>
                    <a:pt x="175063" y="266100"/>
                  </a:cubicBezTo>
                  <a:lnTo>
                    <a:pt x="233207" y="266100"/>
                  </a:lnTo>
                  <a:cubicBezTo>
                    <a:pt x="304970" y="266100"/>
                    <a:pt x="342685" y="313768"/>
                    <a:pt x="342685" y="371388"/>
                  </a:cubicBezTo>
                  <a:cubicBezTo>
                    <a:pt x="342685" y="430056"/>
                    <a:pt x="304970" y="476152"/>
                    <a:pt x="233207" y="476152"/>
                  </a:cubicBezTo>
                  <a:cubicBezTo>
                    <a:pt x="186063" y="476152"/>
                    <a:pt x="138919" y="476152"/>
                    <a:pt x="91775" y="476152"/>
                  </a:cubicBezTo>
                  <a:lnTo>
                    <a:pt x="62965" y="476152"/>
                  </a:lnTo>
                  <a:cubicBezTo>
                    <a:pt x="74489" y="402293"/>
                    <a:pt x="94918" y="327387"/>
                    <a:pt x="130014" y="266100"/>
                  </a:cubicBezTo>
                  <a:moveTo>
                    <a:pt x="295017" y="496581"/>
                  </a:moveTo>
                  <a:cubicBezTo>
                    <a:pt x="345304" y="486628"/>
                    <a:pt x="392972" y="437913"/>
                    <a:pt x="392972" y="366150"/>
                  </a:cubicBezTo>
                  <a:cubicBezTo>
                    <a:pt x="392972" y="344149"/>
                    <a:pt x="389305" y="322149"/>
                    <a:pt x="380400" y="301720"/>
                  </a:cubicBezTo>
                  <a:cubicBezTo>
                    <a:pt x="372543" y="283386"/>
                    <a:pt x="359971" y="267148"/>
                    <a:pt x="344780" y="254576"/>
                  </a:cubicBezTo>
                  <a:cubicBezTo>
                    <a:pt x="328542" y="241481"/>
                    <a:pt x="309161" y="232576"/>
                    <a:pt x="288732" y="227338"/>
                  </a:cubicBezTo>
                  <a:cubicBezTo>
                    <a:pt x="267779" y="222099"/>
                    <a:pt x="244731" y="221576"/>
                    <a:pt x="223254" y="221576"/>
                  </a:cubicBezTo>
                  <a:lnTo>
                    <a:pt x="158824" y="221576"/>
                  </a:lnTo>
                  <a:cubicBezTo>
                    <a:pt x="274065" y="55525"/>
                    <a:pt x="364162" y="38763"/>
                    <a:pt x="364162" y="38763"/>
                  </a:cubicBezTo>
                  <a:lnTo>
                    <a:pt x="364162" y="0"/>
                  </a:lnTo>
                  <a:cubicBezTo>
                    <a:pt x="364162" y="0"/>
                    <a:pt x="215397" y="41906"/>
                    <a:pt x="93871" y="236243"/>
                  </a:cubicBezTo>
                  <a:cubicBezTo>
                    <a:pt x="-28179" y="430579"/>
                    <a:pt x="3774" y="789396"/>
                    <a:pt x="3774" y="789396"/>
                  </a:cubicBezTo>
                  <a:cubicBezTo>
                    <a:pt x="3774" y="789396"/>
                    <a:pt x="44632" y="789396"/>
                    <a:pt x="44632" y="789396"/>
                  </a:cubicBezTo>
                  <a:cubicBezTo>
                    <a:pt x="44632" y="789396"/>
                    <a:pt x="94918" y="789396"/>
                    <a:pt x="94918" y="789396"/>
                  </a:cubicBezTo>
                  <a:lnTo>
                    <a:pt x="145729" y="789396"/>
                  </a:lnTo>
                  <a:lnTo>
                    <a:pt x="181349" y="789396"/>
                  </a:lnTo>
                  <a:lnTo>
                    <a:pt x="244207" y="789396"/>
                  </a:lnTo>
                  <a:cubicBezTo>
                    <a:pt x="343733" y="789396"/>
                    <a:pt x="403972" y="730728"/>
                    <a:pt x="403972" y="636440"/>
                  </a:cubicBezTo>
                  <a:cubicBezTo>
                    <a:pt x="403448" y="568868"/>
                    <a:pt x="354209" y="506009"/>
                    <a:pt x="295017" y="496581"/>
                  </a:cubicBezTo>
                </a:path>
              </a:pathLst>
            </a:custGeom>
            <a:solidFill>
              <a:srgbClr val="FBAF3F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D37DC3FC-5DC7-4E26-94C5-85742EAAAB7C}"/>
                </a:ext>
              </a:extLst>
            </p:cNvPr>
            <p:cNvSpPr/>
            <p:nvPr/>
          </p:nvSpPr>
          <p:spPr>
            <a:xfrm>
              <a:off x="707995" y="6022800"/>
              <a:ext cx="83811" cy="94287"/>
            </a:xfrm>
            <a:custGeom>
              <a:avLst/>
              <a:gdLst>
                <a:gd name="connsiteX0" fmla="*/ 22000 w 83811"/>
                <a:gd name="connsiteY0" fmla="*/ 0 h 94287"/>
                <a:gd name="connsiteX1" fmla="*/ 60239 w 83811"/>
                <a:gd name="connsiteY1" fmla="*/ 0 h 94287"/>
                <a:gd name="connsiteX2" fmla="*/ 84859 w 83811"/>
                <a:gd name="connsiteY2" fmla="*/ 22524 h 94287"/>
                <a:gd name="connsiteX3" fmla="*/ 61811 w 83811"/>
                <a:gd name="connsiteY3" fmla="*/ 49239 h 94287"/>
                <a:gd name="connsiteX4" fmla="*/ 76478 w 83811"/>
                <a:gd name="connsiteY4" fmla="*/ 69668 h 94287"/>
                <a:gd name="connsiteX5" fmla="*/ 42953 w 83811"/>
                <a:gd name="connsiteY5" fmla="*/ 99002 h 94287"/>
                <a:gd name="connsiteX6" fmla="*/ 0 w 83811"/>
                <a:gd name="connsiteY6" fmla="*/ 99002 h 94287"/>
                <a:gd name="connsiteX7" fmla="*/ 22000 w 83811"/>
                <a:gd name="connsiteY7" fmla="*/ 0 h 94287"/>
                <a:gd name="connsiteX8" fmla="*/ 49239 w 83811"/>
                <a:gd name="connsiteY8" fmla="*/ 52382 h 94287"/>
                <a:gd name="connsiteX9" fmla="*/ 18858 w 83811"/>
                <a:gd name="connsiteY9" fmla="*/ 52382 h 94287"/>
                <a:gd name="connsiteX10" fmla="*/ 9953 w 83811"/>
                <a:gd name="connsiteY10" fmla="*/ 91668 h 94287"/>
                <a:gd name="connsiteX11" fmla="*/ 42429 w 83811"/>
                <a:gd name="connsiteY11" fmla="*/ 91668 h 94287"/>
                <a:gd name="connsiteX12" fmla="*/ 67049 w 83811"/>
                <a:gd name="connsiteY12" fmla="*/ 69668 h 94287"/>
                <a:gd name="connsiteX13" fmla="*/ 49239 w 83811"/>
                <a:gd name="connsiteY13" fmla="*/ 52382 h 94287"/>
                <a:gd name="connsiteX14" fmla="*/ 58144 w 83811"/>
                <a:gd name="connsiteY14" fmla="*/ 7857 h 94287"/>
                <a:gd name="connsiteX15" fmla="*/ 28810 w 83811"/>
                <a:gd name="connsiteY15" fmla="*/ 7857 h 94287"/>
                <a:gd name="connsiteX16" fmla="*/ 20953 w 83811"/>
                <a:gd name="connsiteY16" fmla="*/ 44525 h 94287"/>
                <a:gd name="connsiteX17" fmla="*/ 53430 w 83811"/>
                <a:gd name="connsiteY17" fmla="*/ 44525 h 94287"/>
                <a:gd name="connsiteX18" fmla="*/ 75430 w 83811"/>
                <a:gd name="connsiteY18" fmla="*/ 23572 h 94287"/>
                <a:gd name="connsiteX19" fmla="*/ 58144 w 83811"/>
                <a:gd name="connsiteY19" fmla="*/ 7857 h 9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83811" h="94287">
                  <a:moveTo>
                    <a:pt x="22000" y="0"/>
                  </a:moveTo>
                  <a:lnTo>
                    <a:pt x="60239" y="0"/>
                  </a:lnTo>
                  <a:cubicBezTo>
                    <a:pt x="73859" y="0"/>
                    <a:pt x="84859" y="8905"/>
                    <a:pt x="84859" y="22524"/>
                  </a:cubicBezTo>
                  <a:cubicBezTo>
                    <a:pt x="84859" y="36667"/>
                    <a:pt x="74382" y="48191"/>
                    <a:pt x="61811" y="49239"/>
                  </a:cubicBezTo>
                  <a:cubicBezTo>
                    <a:pt x="70192" y="51334"/>
                    <a:pt x="76478" y="60239"/>
                    <a:pt x="76478" y="69668"/>
                  </a:cubicBezTo>
                  <a:cubicBezTo>
                    <a:pt x="76478" y="84859"/>
                    <a:pt x="66001" y="99002"/>
                    <a:pt x="42953" y="99002"/>
                  </a:cubicBezTo>
                  <a:lnTo>
                    <a:pt x="0" y="99002"/>
                  </a:lnTo>
                  <a:lnTo>
                    <a:pt x="22000" y="0"/>
                  </a:lnTo>
                  <a:close/>
                  <a:moveTo>
                    <a:pt x="49239" y="52382"/>
                  </a:moveTo>
                  <a:lnTo>
                    <a:pt x="18858" y="52382"/>
                  </a:lnTo>
                  <a:lnTo>
                    <a:pt x="9953" y="91668"/>
                  </a:lnTo>
                  <a:lnTo>
                    <a:pt x="42429" y="91668"/>
                  </a:lnTo>
                  <a:cubicBezTo>
                    <a:pt x="58144" y="91668"/>
                    <a:pt x="67049" y="80668"/>
                    <a:pt x="67049" y="69668"/>
                  </a:cubicBezTo>
                  <a:cubicBezTo>
                    <a:pt x="67049" y="59715"/>
                    <a:pt x="60763" y="52382"/>
                    <a:pt x="49239" y="52382"/>
                  </a:cubicBezTo>
                  <a:close/>
                  <a:moveTo>
                    <a:pt x="58144" y="7857"/>
                  </a:moveTo>
                  <a:lnTo>
                    <a:pt x="28810" y="7857"/>
                  </a:lnTo>
                  <a:lnTo>
                    <a:pt x="20953" y="44525"/>
                  </a:lnTo>
                  <a:lnTo>
                    <a:pt x="53430" y="44525"/>
                  </a:lnTo>
                  <a:cubicBezTo>
                    <a:pt x="70192" y="44525"/>
                    <a:pt x="75430" y="33524"/>
                    <a:pt x="75430" y="23572"/>
                  </a:cubicBezTo>
                  <a:cubicBezTo>
                    <a:pt x="75430" y="14667"/>
                    <a:pt x="67573" y="7857"/>
                    <a:pt x="58144" y="7857"/>
                  </a:cubicBez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0CC05016-8070-496D-9C52-2916934814D8}"/>
                </a:ext>
              </a:extLst>
            </p:cNvPr>
            <p:cNvSpPr/>
            <p:nvPr/>
          </p:nvSpPr>
          <p:spPr>
            <a:xfrm>
              <a:off x="818521" y="6049514"/>
              <a:ext cx="62858" cy="73335"/>
            </a:xfrm>
            <a:custGeom>
              <a:avLst/>
              <a:gdLst>
                <a:gd name="connsiteX0" fmla="*/ 8381 w 62858"/>
                <a:gd name="connsiteY0" fmla="*/ 49239 h 73334"/>
                <a:gd name="connsiteX1" fmla="*/ 7333 w 62858"/>
                <a:gd name="connsiteY1" fmla="*/ 54477 h 73334"/>
                <a:gd name="connsiteX2" fmla="*/ 23048 w 62858"/>
                <a:gd name="connsiteY2" fmla="*/ 67049 h 73334"/>
                <a:gd name="connsiteX3" fmla="*/ 47668 w 62858"/>
                <a:gd name="connsiteY3" fmla="*/ 54477 h 73334"/>
                <a:gd name="connsiteX4" fmla="*/ 59715 w 62858"/>
                <a:gd name="connsiteY4" fmla="*/ 524 h 73334"/>
                <a:gd name="connsiteX5" fmla="*/ 67573 w 62858"/>
                <a:gd name="connsiteY5" fmla="*/ 524 h 73334"/>
                <a:gd name="connsiteX6" fmla="*/ 51858 w 62858"/>
                <a:gd name="connsiteY6" fmla="*/ 72287 h 73334"/>
                <a:gd name="connsiteX7" fmla="*/ 44001 w 62858"/>
                <a:gd name="connsiteY7" fmla="*/ 72287 h 73334"/>
                <a:gd name="connsiteX8" fmla="*/ 46620 w 62858"/>
                <a:gd name="connsiteY8" fmla="*/ 61287 h 73334"/>
                <a:gd name="connsiteX9" fmla="*/ 20953 w 62858"/>
                <a:gd name="connsiteY9" fmla="*/ 73859 h 73334"/>
                <a:gd name="connsiteX10" fmla="*/ 0 w 62858"/>
                <a:gd name="connsiteY10" fmla="*/ 56049 h 73334"/>
                <a:gd name="connsiteX11" fmla="*/ 1048 w 62858"/>
                <a:gd name="connsiteY11" fmla="*/ 49763 h 73334"/>
                <a:gd name="connsiteX12" fmla="*/ 12048 w 62858"/>
                <a:gd name="connsiteY12" fmla="*/ 0 h 73334"/>
                <a:gd name="connsiteX13" fmla="*/ 19905 w 62858"/>
                <a:gd name="connsiteY13" fmla="*/ 0 h 73334"/>
                <a:gd name="connsiteX14" fmla="*/ 8381 w 62858"/>
                <a:gd name="connsiteY14" fmla="*/ 49239 h 73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858" h="73334">
                  <a:moveTo>
                    <a:pt x="8381" y="49239"/>
                  </a:moveTo>
                  <a:cubicBezTo>
                    <a:pt x="7857" y="50811"/>
                    <a:pt x="7333" y="52906"/>
                    <a:pt x="7333" y="54477"/>
                  </a:cubicBezTo>
                  <a:cubicBezTo>
                    <a:pt x="7333" y="63382"/>
                    <a:pt x="14143" y="67049"/>
                    <a:pt x="23048" y="67049"/>
                  </a:cubicBezTo>
                  <a:cubicBezTo>
                    <a:pt x="31953" y="67049"/>
                    <a:pt x="41382" y="60763"/>
                    <a:pt x="47668" y="54477"/>
                  </a:cubicBezTo>
                  <a:lnTo>
                    <a:pt x="59715" y="524"/>
                  </a:lnTo>
                  <a:lnTo>
                    <a:pt x="67573" y="524"/>
                  </a:lnTo>
                  <a:lnTo>
                    <a:pt x="51858" y="72287"/>
                  </a:lnTo>
                  <a:lnTo>
                    <a:pt x="44001" y="72287"/>
                  </a:lnTo>
                  <a:lnTo>
                    <a:pt x="46620" y="61287"/>
                  </a:lnTo>
                  <a:cubicBezTo>
                    <a:pt x="39810" y="67573"/>
                    <a:pt x="30905" y="73859"/>
                    <a:pt x="20953" y="73859"/>
                  </a:cubicBezTo>
                  <a:cubicBezTo>
                    <a:pt x="8905" y="73859"/>
                    <a:pt x="0" y="68097"/>
                    <a:pt x="0" y="56049"/>
                  </a:cubicBezTo>
                  <a:cubicBezTo>
                    <a:pt x="0" y="54477"/>
                    <a:pt x="524" y="51334"/>
                    <a:pt x="1048" y="49763"/>
                  </a:cubicBezTo>
                  <a:lnTo>
                    <a:pt x="12048" y="0"/>
                  </a:lnTo>
                  <a:lnTo>
                    <a:pt x="19905" y="0"/>
                  </a:lnTo>
                  <a:lnTo>
                    <a:pt x="8381" y="49239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305FC140-06C6-4410-B53E-D9E84BC77373}"/>
                </a:ext>
              </a:extLst>
            </p:cNvPr>
            <p:cNvSpPr/>
            <p:nvPr/>
          </p:nvSpPr>
          <p:spPr>
            <a:xfrm>
              <a:off x="909142" y="6025943"/>
              <a:ext cx="26191" cy="94287"/>
            </a:xfrm>
            <a:custGeom>
              <a:avLst/>
              <a:gdLst>
                <a:gd name="connsiteX0" fmla="*/ 15715 w 26190"/>
                <a:gd name="connsiteY0" fmla="*/ 24096 h 94287"/>
                <a:gd name="connsiteX1" fmla="*/ 23572 w 26190"/>
                <a:gd name="connsiteY1" fmla="*/ 24096 h 94287"/>
                <a:gd name="connsiteX2" fmla="*/ 7857 w 26190"/>
                <a:gd name="connsiteY2" fmla="*/ 95859 h 94287"/>
                <a:gd name="connsiteX3" fmla="*/ 0 w 26190"/>
                <a:gd name="connsiteY3" fmla="*/ 95859 h 94287"/>
                <a:gd name="connsiteX4" fmla="*/ 15715 w 26190"/>
                <a:gd name="connsiteY4" fmla="*/ 24096 h 94287"/>
                <a:gd name="connsiteX5" fmla="*/ 24096 w 26190"/>
                <a:gd name="connsiteY5" fmla="*/ 0 h 94287"/>
                <a:gd name="connsiteX6" fmla="*/ 29858 w 26190"/>
                <a:gd name="connsiteY6" fmla="*/ 5238 h 94287"/>
                <a:gd name="connsiteX7" fmla="*/ 23048 w 26190"/>
                <a:gd name="connsiteY7" fmla="*/ 12048 h 94287"/>
                <a:gd name="connsiteX8" fmla="*/ 17286 w 26190"/>
                <a:gd name="connsiteY8" fmla="*/ 6810 h 94287"/>
                <a:gd name="connsiteX9" fmla="*/ 24096 w 26190"/>
                <a:gd name="connsiteY9" fmla="*/ 0 h 9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190" h="94287">
                  <a:moveTo>
                    <a:pt x="15715" y="24096"/>
                  </a:moveTo>
                  <a:lnTo>
                    <a:pt x="23572" y="24096"/>
                  </a:lnTo>
                  <a:lnTo>
                    <a:pt x="7857" y="95859"/>
                  </a:lnTo>
                  <a:lnTo>
                    <a:pt x="0" y="95859"/>
                  </a:lnTo>
                  <a:lnTo>
                    <a:pt x="15715" y="24096"/>
                  </a:lnTo>
                  <a:close/>
                  <a:moveTo>
                    <a:pt x="24096" y="0"/>
                  </a:moveTo>
                  <a:cubicBezTo>
                    <a:pt x="27239" y="0"/>
                    <a:pt x="29858" y="2619"/>
                    <a:pt x="29858" y="5238"/>
                  </a:cubicBezTo>
                  <a:cubicBezTo>
                    <a:pt x="29858" y="9429"/>
                    <a:pt x="26191" y="12048"/>
                    <a:pt x="23048" y="12048"/>
                  </a:cubicBezTo>
                  <a:cubicBezTo>
                    <a:pt x="19905" y="12048"/>
                    <a:pt x="17286" y="9429"/>
                    <a:pt x="17286" y="6810"/>
                  </a:cubicBezTo>
                  <a:cubicBezTo>
                    <a:pt x="17286" y="2619"/>
                    <a:pt x="20953" y="0"/>
                    <a:pt x="24096" y="0"/>
                  </a:cubicBez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D9F500F8-4E43-416F-A40D-5EBE901DE9E4}"/>
                </a:ext>
              </a:extLst>
            </p:cNvPr>
            <p:cNvSpPr/>
            <p:nvPr/>
          </p:nvSpPr>
          <p:spPr>
            <a:xfrm>
              <a:off x="955762" y="6022800"/>
              <a:ext cx="26191" cy="94287"/>
            </a:xfrm>
            <a:custGeom>
              <a:avLst/>
              <a:gdLst>
                <a:gd name="connsiteX0" fmla="*/ 22000 w 26190"/>
                <a:gd name="connsiteY0" fmla="*/ 0 h 94287"/>
                <a:gd name="connsiteX1" fmla="*/ 29858 w 26190"/>
                <a:gd name="connsiteY1" fmla="*/ 0 h 94287"/>
                <a:gd name="connsiteX2" fmla="*/ 7857 w 26190"/>
                <a:gd name="connsiteY2" fmla="*/ 99002 h 94287"/>
                <a:gd name="connsiteX3" fmla="*/ 0 w 26190"/>
                <a:gd name="connsiteY3" fmla="*/ 99002 h 94287"/>
                <a:gd name="connsiteX4" fmla="*/ 22000 w 26190"/>
                <a:gd name="connsiteY4" fmla="*/ 0 h 9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190" h="94287">
                  <a:moveTo>
                    <a:pt x="22000" y="0"/>
                  </a:moveTo>
                  <a:lnTo>
                    <a:pt x="29858" y="0"/>
                  </a:lnTo>
                  <a:lnTo>
                    <a:pt x="7857" y="99002"/>
                  </a:lnTo>
                  <a:lnTo>
                    <a:pt x="0" y="99002"/>
                  </a:lnTo>
                  <a:lnTo>
                    <a:pt x="22000" y="0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CB5CCE38-59B6-45FF-8445-65FFE39B5A5B}"/>
                </a:ext>
              </a:extLst>
            </p:cNvPr>
            <p:cNvSpPr/>
            <p:nvPr/>
          </p:nvSpPr>
          <p:spPr>
            <a:xfrm>
              <a:off x="1005001" y="6022800"/>
              <a:ext cx="78573" cy="99526"/>
            </a:xfrm>
            <a:custGeom>
              <a:avLst/>
              <a:gdLst>
                <a:gd name="connsiteX0" fmla="*/ 72287 w 78572"/>
                <a:gd name="connsiteY0" fmla="*/ 0 h 99525"/>
                <a:gd name="connsiteX1" fmla="*/ 80144 w 78572"/>
                <a:gd name="connsiteY1" fmla="*/ 0 h 99525"/>
                <a:gd name="connsiteX2" fmla="*/ 58144 w 78572"/>
                <a:gd name="connsiteY2" fmla="*/ 99002 h 99525"/>
                <a:gd name="connsiteX3" fmla="*/ 50287 w 78572"/>
                <a:gd name="connsiteY3" fmla="*/ 99002 h 99525"/>
                <a:gd name="connsiteX4" fmla="*/ 52906 w 78572"/>
                <a:gd name="connsiteY4" fmla="*/ 88002 h 99525"/>
                <a:gd name="connsiteX5" fmla="*/ 28286 w 78572"/>
                <a:gd name="connsiteY5" fmla="*/ 100573 h 99525"/>
                <a:gd name="connsiteX6" fmla="*/ 0 w 78572"/>
                <a:gd name="connsiteY6" fmla="*/ 71239 h 99525"/>
                <a:gd name="connsiteX7" fmla="*/ 37715 w 78572"/>
                <a:gd name="connsiteY7" fmla="*/ 25143 h 99525"/>
                <a:gd name="connsiteX8" fmla="*/ 63382 w 78572"/>
                <a:gd name="connsiteY8" fmla="*/ 39286 h 99525"/>
                <a:gd name="connsiteX9" fmla="*/ 72287 w 78572"/>
                <a:gd name="connsiteY9" fmla="*/ 0 h 99525"/>
                <a:gd name="connsiteX10" fmla="*/ 30382 w 78572"/>
                <a:gd name="connsiteY10" fmla="*/ 93764 h 99525"/>
                <a:gd name="connsiteX11" fmla="*/ 55001 w 78572"/>
                <a:gd name="connsiteY11" fmla="*/ 80144 h 99525"/>
                <a:gd name="connsiteX12" fmla="*/ 62335 w 78572"/>
                <a:gd name="connsiteY12" fmla="*/ 45572 h 99525"/>
                <a:gd name="connsiteX13" fmla="*/ 38763 w 78572"/>
                <a:gd name="connsiteY13" fmla="*/ 32477 h 99525"/>
                <a:gd name="connsiteX14" fmla="*/ 8905 w 78572"/>
                <a:gd name="connsiteY14" fmla="*/ 70192 h 99525"/>
                <a:gd name="connsiteX15" fmla="*/ 30382 w 78572"/>
                <a:gd name="connsiteY15" fmla="*/ 93764 h 9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572" h="99525">
                  <a:moveTo>
                    <a:pt x="72287" y="0"/>
                  </a:moveTo>
                  <a:lnTo>
                    <a:pt x="80144" y="0"/>
                  </a:lnTo>
                  <a:lnTo>
                    <a:pt x="58144" y="99002"/>
                  </a:lnTo>
                  <a:lnTo>
                    <a:pt x="50287" y="99002"/>
                  </a:lnTo>
                  <a:lnTo>
                    <a:pt x="52906" y="88002"/>
                  </a:lnTo>
                  <a:cubicBezTo>
                    <a:pt x="47144" y="95335"/>
                    <a:pt x="38239" y="100573"/>
                    <a:pt x="28286" y="100573"/>
                  </a:cubicBezTo>
                  <a:cubicBezTo>
                    <a:pt x="11524" y="100573"/>
                    <a:pt x="0" y="89573"/>
                    <a:pt x="0" y="71239"/>
                  </a:cubicBezTo>
                  <a:cubicBezTo>
                    <a:pt x="0" y="47144"/>
                    <a:pt x="15191" y="25143"/>
                    <a:pt x="37715" y="25143"/>
                  </a:cubicBezTo>
                  <a:cubicBezTo>
                    <a:pt x="49239" y="25143"/>
                    <a:pt x="58668" y="30905"/>
                    <a:pt x="63382" y="39286"/>
                  </a:cubicBezTo>
                  <a:lnTo>
                    <a:pt x="72287" y="0"/>
                  </a:lnTo>
                  <a:close/>
                  <a:moveTo>
                    <a:pt x="30382" y="93764"/>
                  </a:moveTo>
                  <a:cubicBezTo>
                    <a:pt x="40334" y="93764"/>
                    <a:pt x="49763" y="87478"/>
                    <a:pt x="55001" y="80144"/>
                  </a:cubicBezTo>
                  <a:lnTo>
                    <a:pt x="62335" y="45572"/>
                  </a:lnTo>
                  <a:cubicBezTo>
                    <a:pt x="58668" y="38239"/>
                    <a:pt x="50287" y="32477"/>
                    <a:pt x="38763" y="32477"/>
                  </a:cubicBezTo>
                  <a:cubicBezTo>
                    <a:pt x="20953" y="32477"/>
                    <a:pt x="8905" y="50810"/>
                    <a:pt x="8905" y="70192"/>
                  </a:cubicBezTo>
                  <a:cubicBezTo>
                    <a:pt x="8381" y="84859"/>
                    <a:pt x="17286" y="93764"/>
                    <a:pt x="30382" y="93764"/>
                  </a:cubicBez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B736170F-7EDC-46A9-9DCC-9552D512421A}"/>
                </a:ext>
              </a:extLst>
            </p:cNvPr>
            <p:cNvSpPr/>
            <p:nvPr/>
          </p:nvSpPr>
          <p:spPr>
            <a:xfrm>
              <a:off x="1102431" y="6025943"/>
              <a:ext cx="26191" cy="94287"/>
            </a:xfrm>
            <a:custGeom>
              <a:avLst/>
              <a:gdLst>
                <a:gd name="connsiteX0" fmla="*/ 15715 w 26190"/>
                <a:gd name="connsiteY0" fmla="*/ 24096 h 94287"/>
                <a:gd name="connsiteX1" fmla="*/ 23572 w 26190"/>
                <a:gd name="connsiteY1" fmla="*/ 24096 h 94287"/>
                <a:gd name="connsiteX2" fmla="*/ 7857 w 26190"/>
                <a:gd name="connsiteY2" fmla="*/ 95859 h 94287"/>
                <a:gd name="connsiteX3" fmla="*/ 0 w 26190"/>
                <a:gd name="connsiteY3" fmla="*/ 95859 h 94287"/>
                <a:gd name="connsiteX4" fmla="*/ 15715 w 26190"/>
                <a:gd name="connsiteY4" fmla="*/ 24096 h 94287"/>
                <a:gd name="connsiteX5" fmla="*/ 24096 w 26190"/>
                <a:gd name="connsiteY5" fmla="*/ 0 h 94287"/>
                <a:gd name="connsiteX6" fmla="*/ 29858 w 26190"/>
                <a:gd name="connsiteY6" fmla="*/ 5238 h 94287"/>
                <a:gd name="connsiteX7" fmla="*/ 23048 w 26190"/>
                <a:gd name="connsiteY7" fmla="*/ 12048 h 94287"/>
                <a:gd name="connsiteX8" fmla="*/ 17286 w 26190"/>
                <a:gd name="connsiteY8" fmla="*/ 6810 h 94287"/>
                <a:gd name="connsiteX9" fmla="*/ 24096 w 26190"/>
                <a:gd name="connsiteY9" fmla="*/ 0 h 9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190" h="94287">
                  <a:moveTo>
                    <a:pt x="15715" y="24096"/>
                  </a:moveTo>
                  <a:lnTo>
                    <a:pt x="23572" y="24096"/>
                  </a:lnTo>
                  <a:lnTo>
                    <a:pt x="7857" y="95859"/>
                  </a:lnTo>
                  <a:lnTo>
                    <a:pt x="0" y="95859"/>
                  </a:lnTo>
                  <a:lnTo>
                    <a:pt x="15715" y="24096"/>
                  </a:lnTo>
                  <a:close/>
                  <a:moveTo>
                    <a:pt x="24096" y="0"/>
                  </a:moveTo>
                  <a:cubicBezTo>
                    <a:pt x="27239" y="0"/>
                    <a:pt x="29858" y="2619"/>
                    <a:pt x="29858" y="5238"/>
                  </a:cubicBezTo>
                  <a:cubicBezTo>
                    <a:pt x="29858" y="9429"/>
                    <a:pt x="26191" y="12048"/>
                    <a:pt x="23048" y="12048"/>
                  </a:cubicBezTo>
                  <a:cubicBezTo>
                    <a:pt x="19905" y="12048"/>
                    <a:pt x="17286" y="9429"/>
                    <a:pt x="17286" y="6810"/>
                  </a:cubicBezTo>
                  <a:cubicBezTo>
                    <a:pt x="17286" y="2619"/>
                    <a:pt x="20953" y="0"/>
                    <a:pt x="24096" y="0"/>
                  </a:cubicBez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9E93D71-791C-4815-B7AF-F834A8699DE7}"/>
                </a:ext>
              </a:extLst>
            </p:cNvPr>
            <p:cNvSpPr/>
            <p:nvPr/>
          </p:nvSpPr>
          <p:spPr>
            <a:xfrm>
              <a:off x="1149051" y="6048991"/>
              <a:ext cx="62858" cy="73335"/>
            </a:xfrm>
            <a:custGeom>
              <a:avLst/>
              <a:gdLst>
                <a:gd name="connsiteX0" fmla="*/ 59192 w 62858"/>
                <a:gd name="connsiteY0" fmla="*/ 24619 h 73334"/>
                <a:gd name="connsiteX1" fmla="*/ 60239 w 62858"/>
                <a:gd name="connsiteY1" fmla="*/ 19381 h 73334"/>
                <a:gd name="connsiteX2" fmla="*/ 44525 w 62858"/>
                <a:gd name="connsiteY2" fmla="*/ 6810 h 73334"/>
                <a:gd name="connsiteX3" fmla="*/ 19905 w 62858"/>
                <a:gd name="connsiteY3" fmla="*/ 19381 h 73334"/>
                <a:gd name="connsiteX4" fmla="*/ 7857 w 62858"/>
                <a:gd name="connsiteY4" fmla="*/ 73335 h 73334"/>
                <a:gd name="connsiteX5" fmla="*/ 0 w 62858"/>
                <a:gd name="connsiteY5" fmla="*/ 73335 h 73334"/>
                <a:gd name="connsiteX6" fmla="*/ 15715 w 62858"/>
                <a:gd name="connsiteY6" fmla="*/ 1571 h 73334"/>
                <a:gd name="connsiteX7" fmla="*/ 23572 w 62858"/>
                <a:gd name="connsiteY7" fmla="*/ 1571 h 73334"/>
                <a:gd name="connsiteX8" fmla="*/ 20953 w 62858"/>
                <a:gd name="connsiteY8" fmla="*/ 12572 h 73334"/>
                <a:gd name="connsiteX9" fmla="*/ 46620 w 62858"/>
                <a:gd name="connsiteY9" fmla="*/ 0 h 73334"/>
                <a:gd name="connsiteX10" fmla="*/ 67573 w 62858"/>
                <a:gd name="connsiteY10" fmla="*/ 17810 h 73334"/>
                <a:gd name="connsiteX11" fmla="*/ 66525 w 62858"/>
                <a:gd name="connsiteY11" fmla="*/ 24096 h 73334"/>
                <a:gd name="connsiteX12" fmla="*/ 55525 w 62858"/>
                <a:gd name="connsiteY12" fmla="*/ 73858 h 73334"/>
                <a:gd name="connsiteX13" fmla="*/ 47668 w 62858"/>
                <a:gd name="connsiteY13" fmla="*/ 73858 h 73334"/>
                <a:gd name="connsiteX14" fmla="*/ 59192 w 62858"/>
                <a:gd name="connsiteY14" fmla="*/ 24619 h 73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62858" h="73334">
                  <a:moveTo>
                    <a:pt x="59192" y="24619"/>
                  </a:moveTo>
                  <a:cubicBezTo>
                    <a:pt x="59715" y="23048"/>
                    <a:pt x="60239" y="20953"/>
                    <a:pt x="60239" y="19381"/>
                  </a:cubicBezTo>
                  <a:cubicBezTo>
                    <a:pt x="60239" y="10476"/>
                    <a:pt x="53430" y="6810"/>
                    <a:pt x="44525" y="6810"/>
                  </a:cubicBezTo>
                  <a:cubicBezTo>
                    <a:pt x="35096" y="6810"/>
                    <a:pt x="26191" y="13095"/>
                    <a:pt x="19905" y="19381"/>
                  </a:cubicBezTo>
                  <a:lnTo>
                    <a:pt x="7857" y="73335"/>
                  </a:lnTo>
                  <a:lnTo>
                    <a:pt x="0" y="73335"/>
                  </a:lnTo>
                  <a:lnTo>
                    <a:pt x="15715" y="1571"/>
                  </a:lnTo>
                  <a:lnTo>
                    <a:pt x="23572" y="1571"/>
                  </a:lnTo>
                  <a:lnTo>
                    <a:pt x="20953" y="12572"/>
                  </a:lnTo>
                  <a:cubicBezTo>
                    <a:pt x="27239" y="6286"/>
                    <a:pt x="36667" y="0"/>
                    <a:pt x="46620" y="0"/>
                  </a:cubicBezTo>
                  <a:cubicBezTo>
                    <a:pt x="58668" y="0"/>
                    <a:pt x="67573" y="5762"/>
                    <a:pt x="67573" y="17810"/>
                  </a:cubicBezTo>
                  <a:cubicBezTo>
                    <a:pt x="67573" y="19381"/>
                    <a:pt x="67049" y="22524"/>
                    <a:pt x="66525" y="24096"/>
                  </a:cubicBezTo>
                  <a:lnTo>
                    <a:pt x="55525" y="73858"/>
                  </a:lnTo>
                  <a:lnTo>
                    <a:pt x="47668" y="73858"/>
                  </a:lnTo>
                  <a:lnTo>
                    <a:pt x="59192" y="24619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8EBB2A21-00DD-48D1-B38C-FEC76B999A36}"/>
                </a:ext>
              </a:extLst>
            </p:cNvPr>
            <p:cNvSpPr/>
            <p:nvPr/>
          </p:nvSpPr>
          <p:spPr>
            <a:xfrm>
              <a:off x="1239672" y="6048467"/>
              <a:ext cx="78573" cy="99526"/>
            </a:xfrm>
            <a:custGeom>
              <a:avLst/>
              <a:gdLst>
                <a:gd name="connsiteX0" fmla="*/ 6286 w 78572"/>
                <a:gd name="connsiteY0" fmla="*/ 84859 h 99525"/>
                <a:gd name="connsiteX1" fmla="*/ 31429 w 78572"/>
                <a:gd name="connsiteY1" fmla="*/ 95859 h 99525"/>
                <a:gd name="connsiteX2" fmla="*/ 57096 w 78572"/>
                <a:gd name="connsiteY2" fmla="*/ 72811 h 99525"/>
                <a:gd name="connsiteX3" fmla="*/ 59192 w 78572"/>
                <a:gd name="connsiteY3" fmla="*/ 62335 h 99525"/>
                <a:gd name="connsiteX4" fmla="*/ 33524 w 78572"/>
                <a:gd name="connsiteY4" fmla="*/ 74906 h 99525"/>
                <a:gd name="connsiteX5" fmla="*/ 6286 w 78572"/>
                <a:gd name="connsiteY5" fmla="*/ 45048 h 99525"/>
                <a:gd name="connsiteX6" fmla="*/ 43477 w 78572"/>
                <a:gd name="connsiteY6" fmla="*/ 0 h 99525"/>
                <a:gd name="connsiteX7" fmla="*/ 69668 w 78572"/>
                <a:gd name="connsiteY7" fmla="*/ 14143 h 99525"/>
                <a:gd name="connsiteX8" fmla="*/ 72287 w 78572"/>
                <a:gd name="connsiteY8" fmla="*/ 2095 h 99525"/>
                <a:gd name="connsiteX9" fmla="*/ 80144 w 78572"/>
                <a:gd name="connsiteY9" fmla="*/ 2095 h 99525"/>
                <a:gd name="connsiteX10" fmla="*/ 64430 w 78572"/>
                <a:gd name="connsiteY10" fmla="*/ 73335 h 99525"/>
                <a:gd name="connsiteX11" fmla="*/ 30905 w 78572"/>
                <a:gd name="connsiteY11" fmla="*/ 103192 h 99525"/>
                <a:gd name="connsiteX12" fmla="*/ 0 w 78572"/>
                <a:gd name="connsiteY12" fmla="*/ 91145 h 99525"/>
                <a:gd name="connsiteX13" fmla="*/ 6286 w 78572"/>
                <a:gd name="connsiteY13" fmla="*/ 84859 h 99525"/>
                <a:gd name="connsiteX14" fmla="*/ 69144 w 78572"/>
                <a:gd name="connsiteY14" fmla="*/ 19905 h 99525"/>
                <a:gd name="connsiteX15" fmla="*/ 44525 w 78572"/>
                <a:gd name="connsiteY15" fmla="*/ 6810 h 99525"/>
                <a:gd name="connsiteX16" fmla="*/ 15191 w 78572"/>
                <a:gd name="connsiteY16" fmla="*/ 43477 h 99525"/>
                <a:gd name="connsiteX17" fmla="*/ 37191 w 78572"/>
                <a:gd name="connsiteY17" fmla="*/ 67573 h 99525"/>
                <a:gd name="connsiteX18" fmla="*/ 61287 w 78572"/>
                <a:gd name="connsiteY18" fmla="*/ 54477 h 99525"/>
                <a:gd name="connsiteX19" fmla="*/ 69144 w 78572"/>
                <a:gd name="connsiteY19" fmla="*/ 19905 h 9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78572" h="99525">
                  <a:moveTo>
                    <a:pt x="6286" y="84859"/>
                  </a:moveTo>
                  <a:cubicBezTo>
                    <a:pt x="11524" y="92716"/>
                    <a:pt x="19905" y="95859"/>
                    <a:pt x="31429" y="95859"/>
                  </a:cubicBezTo>
                  <a:cubicBezTo>
                    <a:pt x="42953" y="95859"/>
                    <a:pt x="53430" y="89573"/>
                    <a:pt x="57096" y="72811"/>
                  </a:cubicBezTo>
                  <a:lnTo>
                    <a:pt x="59192" y="62335"/>
                  </a:lnTo>
                  <a:cubicBezTo>
                    <a:pt x="53430" y="69668"/>
                    <a:pt x="44525" y="74906"/>
                    <a:pt x="33524" y="74906"/>
                  </a:cubicBezTo>
                  <a:cubicBezTo>
                    <a:pt x="18334" y="74906"/>
                    <a:pt x="6286" y="65477"/>
                    <a:pt x="6286" y="45048"/>
                  </a:cubicBezTo>
                  <a:cubicBezTo>
                    <a:pt x="6286" y="22000"/>
                    <a:pt x="20429" y="0"/>
                    <a:pt x="43477" y="0"/>
                  </a:cubicBezTo>
                  <a:cubicBezTo>
                    <a:pt x="53953" y="0"/>
                    <a:pt x="64430" y="6286"/>
                    <a:pt x="69668" y="14143"/>
                  </a:cubicBezTo>
                  <a:lnTo>
                    <a:pt x="72287" y="2095"/>
                  </a:lnTo>
                  <a:lnTo>
                    <a:pt x="80144" y="2095"/>
                  </a:lnTo>
                  <a:lnTo>
                    <a:pt x="64430" y="73335"/>
                  </a:lnTo>
                  <a:cubicBezTo>
                    <a:pt x="59715" y="95335"/>
                    <a:pt x="46620" y="103192"/>
                    <a:pt x="30905" y="103192"/>
                  </a:cubicBezTo>
                  <a:cubicBezTo>
                    <a:pt x="17286" y="103192"/>
                    <a:pt x="7333" y="100573"/>
                    <a:pt x="0" y="91145"/>
                  </a:cubicBezTo>
                  <a:lnTo>
                    <a:pt x="6286" y="84859"/>
                  </a:lnTo>
                  <a:close/>
                  <a:moveTo>
                    <a:pt x="69144" y="19905"/>
                  </a:moveTo>
                  <a:cubicBezTo>
                    <a:pt x="64430" y="12048"/>
                    <a:pt x="55001" y="6810"/>
                    <a:pt x="44525" y="6810"/>
                  </a:cubicBezTo>
                  <a:cubicBezTo>
                    <a:pt x="26191" y="6810"/>
                    <a:pt x="15191" y="25667"/>
                    <a:pt x="15191" y="43477"/>
                  </a:cubicBezTo>
                  <a:cubicBezTo>
                    <a:pt x="15191" y="58668"/>
                    <a:pt x="23572" y="67573"/>
                    <a:pt x="37191" y="67573"/>
                  </a:cubicBezTo>
                  <a:cubicBezTo>
                    <a:pt x="46620" y="67573"/>
                    <a:pt x="56049" y="61287"/>
                    <a:pt x="61287" y="54477"/>
                  </a:cubicBezTo>
                  <a:lnTo>
                    <a:pt x="69144" y="19905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E9A0777B-0E37-4EB6-AD1D-BB8BCF722870}"/>
                </a:ext>
              </a:extLst>
            </p:cNvPr>
            <p:cNvSpPr/>
            <p:nvPr/>
          </p:nvSpPr>
          <p:spPr>
            <a:xfrm>
              <a:off x="1387389" y="6023323"/>
              <a:ext cx="89049" cy="94287"/>
            </a:xfrm>
            <a:custGeom>
              <a:avLst/>
              <a:gdLst>
                <a:gd name="connsiteX0" fmla="*/ 78049 w 89049"/>
                <a:gd name="connsiteY0" fmla="*/ 74382 h 94287"/>
                <a:gd name="connsiteX1" fmla="*/ 25143 w 89049"/>
                <a:gd name="connsiteY1" fmla="*/ 74382 h 94287"/>
                <a:gd name="connsiteX2" fmla="*/ 9953 w 89049"/>
                <a:gd name="connsiteY2" fmla="*/ 99002 h 94287"/>
                <a:gd name="connsiteX3" fmla="*/ 0 w 89049"/>
                <a:gd name="connsiteY3" fmla="*/ 99002 h 94287"/>
                <a:gd name="connsiteX4" fmla="*/ 62335 w 89049"/>
                <a:gd name="connsiteY4" fmla="*/ 0 h 94287"/>
                <a:gd name="connsiteX5" fmla="*/ 72811 w 89049"/>
                <a:gd name="connsiteY5" fmla="*/ 0 h 94287"/>
                <a:gd name="connsiteX6" fmla="*/ 91668 w 89049"/>
                <a:gd name="connsiteY6" fmla="*/ 99002 h 94287"/>
                <a:gd name="connsiteX7" fmla="*/ 82764 w 89049"/>
                <a:gd name="connsiteY7" fmla="*/ 99002 h 94287"/>
                <a:gd name="connsiteX8" fmla="*/ 78049 w 89049"/>
                <a:gd name="connsiteY8" fmla="*/ 74382 h 94287"/>
                <a:gd name="connsiteX9" fmla="*/ 29334 w 89049"/>
                <a:gd name="connsiteY9" fmla="*/ 66525 h 94287"/>
                <a:gd name="connsiteX10" fmla="*/ 76478 w 89049"/>
                <a:gd name="connsiteY10" fmla="*/ 66525 h 94287"/>
                <a:gd name="connsiteX11" fmla="*/ 66001 w 89049"/>
                <a:gd name="connsiteY11" fmla="*/ 7857 h 94287"/>
                <a:gd name="connsiteX12" fmla="*/ 29334 w 89049"/>
                <a:gd name="connsiteY12" fmla="*/ 66525 h 9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9049" h="94287">
                  <a:moveTo>
                    <a:pt x="78049" y="74382"/>
                  </a:moveTo>
                  <a:lnTo>
                    <a:pt x="25143" y="74382"/>
                  </a:lnTo>
                  <a:lnTo>
                    <a:pt x="9953" y="99002"/>
                  </a:lnTo>
                  <a:lnTo>
                    <a:pt x="0" y="99002"/>
                  </a:lnTo>
                  <a:lnTo>
                    <a:pt x="62335" y="0"/>
                  </a:lnTo>
                  <a:lnTo>
                    <a:pt x="72811" y="0"/>
                  </a:lnTo>
                  <a:lnTo>
                    <a:pt x="91668" y="99002"/>
                  </a:lnTo>
                  <a:lnTo>
                    <a:pt x="82764" y="99002"/>
                  </a:lnTo>
                  <a:lnTo>
                    <a:pt x="78049" y="74382"/>
                  </a:lnTo>
                  <a:close/>
                  <a:moveTo>
                    <a:pt x="29334" y="66525"/>
                  </a:moveTo>
                  <a:lnTo>
                    <a:pt x="76478" y="66525"/>
                  </a:lnTo>
                  <a:lnTo>
                    <a:pt x="66001" y="7857"/>
                  </a:lnTo>
                  <a:lnTo>
                    <a:pt x="29334" y="66525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07AB869-6505-4CF8-9B88-3A454712D70A}"/>
                </a:ext>
              </a:extLst>
            </p:cNvPr>
            <p:cNvSpPr/>
            <p:nvPr/>
          </p:nvSpPr>
          <p:spPr>
            <a:xfrm>
              <a:off x="1509963" y="6021228"/>
              <a:ext cx="47144" cy="99526"/>
            </a:xfrm>
            <a:custGeom>
              <a:avLst/>
              <a:gdLst>
                <a:gd name="connsiteX0" fmla="*/ 14143 w 47143"/>
                <a:gd name="connsiteY0" fmla="*/ 35620 h 99525"/>
                <a:gd name="connsiteX1" fmla="*/ 2095 w 47143"/>
                <a:gd name="connsiteY1" fmla="*/ 35620 h 99525"/>
                <a:gd name="connsiteX2" fmla="*/ 3667 w 47143"/>
                <a:gd name="connsiteY2" fmla="*/ 28810 h 99525"/>
                <a:gd name="connsiteX3" fmla="*/ 15715 w 47143"/>
                <a:gd name="connsiteY3" fmla="*/ 28810 h 99525"/>
                <a:gd name="connsiteX4" fmla="*/ 17286 w 47143"/>
                <a:gd name="connsiteY4" fmla="*/ 22524 h 99525"/>
                <a:gd name="connsiteX5" fmla="*/ 39810 w 47143"/>
                <a:gd name="connsiteY5" fmla="*/ 0 h 99525"/>
                <a:gd name="connsiteX6" fmla="*/ 51334 w 47143"/>
                <a:gd name="connsiteY6" fmla="*/ 3143 h 99525"/>
                <a:gd name="connsiteX7" fmla="*/ 48191 w 47143"/>
                <a:gd name="connsiteY7" fmla="*/ 8905 h 99525"/>
                <a:gd name="connsiteX8" fmla="*/ 40334 w 47143"/>
                <a:gd name="connsiteY8" fmla="*/ 6810 h 99525"/>
                <a:gd name="connsiteX9" fmla="*/ 25667 w 47143"/>
                <a:gd name="connsiteY9" fmla="*/ 22524 h 99525"/>
                <a:gd name="connsiteX10" fmla="*/ 24096 w 47143"/>
                <a:gd name="connsiteY10" fmla="*/ 28810 h 99525"/>
                <a:gd name="connsiteX11" fmla="*/ 38763 w 47143"/>
                <a:gd name="connsiteY11" fmla="*/ 28810 h 99525"/>
                <a:gd name="connsiteX12" fmla="*/ 37191 w 47143"/>
                <a:gd name="connsiteY12" fmla="*/ 35620 h 99525"/>
                <a:gd name="connsiteX13" fmla="*/ 22524 w 47143"/>
                <a:gd name="connsiteY13" fmla="*/ 35620 h 99525"/>
                <a:gd name="connsiteX14" fmla="*/ 7857 w 47143"/>
                <a:gd name="connsiteY14" fmla="*/ 100573 h 99525"/>
                <a:gd name="connsiteX15" fmla="*/ 0 w 47143"/>
                <a:gd name="connsiteY15" fmla="*/ 100573 h 99525"/>
                <a:gd name="connsiteX16" fmla="*/ 14143 w 47143"/>
                <a:gd name="connsiteY16" fmla="*/ 35620 h 9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143" h="99525">
                  <a:moveTo>
                    <a:pt x="14143" y="35620"/>
                  </a:moveTo>
                  <a:lnTo>
                    <a:pt x="2095" y="35620"/>
                  </a:lnTo>
                  <a:lnTo>
                    <a:pt x="3667" y="28810"/>
                  </a:lnTo>
                  <a:lnTo>
                    <a:pt x="15715" y="28810"/>
                  </a:lnTo>
                  <a:lnTo>
                    <a:pt x="17286" y="22524"/>
                  </a:lnTo>
                  <a:cubicBezTo>
                    <a:pt x="20429" y="8381"/>
                    <a:pt x="27762" y="0"/>
                    <a:pt x="39810" y="0"/>
                  </a:cubicBezTo>
                  <a:cubicBezTo>
                    <a:pt x="44001" y="0"/>
                    <a:pt x="47668" y="524"/>
                    <a:pt x="51334" y="3143"/>
                  </a:cubicBezTo>
                  <a:lnTo>
                    <a:pt x="48191" y="8905"/>
                  </a:lnTo>
                  <a:cubicBezTo>
                    <a:pt x="46096" y="7333"/>
                    <a:pt x="42953" y="6810"/>
                    <a:pt x="40334" y="6810"/>
                  </a:cubicBezTo>
                  <a:cubicBezTo>
                    <a:pt x="31953" y="6810"/>
                    <a:pt x="27762" y="12572"/>
                    <a:pt x="25667" y="22524"/>
                  </a:cubicBezTo>
                  <a:lnTo>
                    <a:pt x="24096" y="28810"/>
                  </a:lnTo>
                  <a:lnTo>
                    <a:pt x="38763" y="28810"/>
                  </a:lnTo>
                  <a:lnTo>
                    <a:pt x="37191" y="35620"/>
                  </a:lnTo>
                  <a:lnTo>
                    <a:pt x="22524" y="35620"/>
                  </a:lnTo>
                  <a:lnTo>
                    <a:pt x="7857" y="100573"/>
                  </a:lnTo>
                  <a:lnTo>
                    <a:pt x="0" y="100573"/>
                  </a:lnTo>
                  <a:lnTo>
                    <a:pt x="14143" y="35620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7E20ACF-9EA7-4DFD-B69D-36E2B87EAEEF}"/>
                </a:ext>
              </a:extLst>
            </p:cNvPr>
            <p:cNvSpPr/>
            <p:nvPr/>
          </p:nvSpPr>
          <p:spPr>
            <a:xfrm>
              <a:off x="1561821" y="6048467"/>
              <a:ext cx="47144" cy="73335"/>
            </a:xfrm>
            <a:custGeom>
              <a:avLst/>
              <a:gdLst>
                <a:gd name="connsiteX0" fmla="*/ 15715 w 47143"/>
                <a:gd name="connsiteY0" fmla="*/ 1571 h 73334"/>
                <a:gd name="connsiteX1" fmla="*/ 23572 w 47143"/>
                <a:gd name="connsiteY1" fmla="*/ 1571 h 73334"/>
                <a:gd name="connsiteX2" fmla="*/ 20953 w 47143"/>
                <a:gd name="connsiteY2" fmla="*/ 13095 h 73334"/>
                <a:gd name="connsiteX3" fmla="*/ 48191 w 47143"/>
                <a:gd name="connsiteY3" fmla="*/ 0 h 73334"/>
                <a:gd name="connsiteX4" fmla="*/ 46620 w 47143"/>
                <a:gd name="connsiteY4" fmla="*/ 8381 h 73334"/>
                <a:gd name="connsiteX5" fmla="*/ 41382 w 47143"/>
                <a:gd name="connsiteY5" fmla="*/ 7857 h 73334"/>
                <a:gd name="connsiteX6" fmla="*/ 19381 w 47143"/>
                <a:gd name="connsiteY6" fmla="*/ 20953 h 73334"/>
                <a:gd name="connsiteX7" fmla="*/ 7857 w 47143"/>
                <a:gd name="connsiteY7" fmla="*/ 73335 h 73334"/>
                <a:gd name="connsiteX8" fmla="*/ 0 w 47143"/>
                <a:gd name="connsiteY8" fmla="*/ 73335 h 73334"/>
                <a:gd name="connsiteX9" fmla="*/ 15715 w 47143"/>
                <a:gd name="connsiteY9" fmla="*/ 1571 h 73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7143" h="73334">
                  <a:moveTo>
                    <a:pt x="15715" y="1571"/>
                  </a:moveTo>
                  <a:lnTo>
                    <a:pt x="23572" y="1571"/>
                  </a:lnTo>
                  <a:lnTo>
                    <a:pt x="20953" y="13095"/>
                  </a:lnTo>
                  <a:cubicBezTo>
                    <a:pt x="28286" y="4714"/>
                    <a:pt x="35620" y="0"/>
                    <a:pt x="48191" y="0"/>
                  </a:cubicBezTo>
                  <a:lnTo>
                    <a:pt x="46620" y="8381"/>
                  </a:lnTo>
                  <a:cubicBezTo>
                    <a:pt x="45572" y="8381"/>
                    <a:pt x="44001" y="7857"/>
                    <a:pt x="41382" y="7857"/>
                  </a:cubicBezTo>
                  <a:cubicBezTo>
                    <a:pt x="32477" y="7857"/>
                    <a:pt x="24096" y="14143"/>
                    <a:pt x="19381" y="20953"/>
                  </a:cubicBezTo>
                  <a:lnTo>
                    <a:pt x="7857" y="73335"/>
                  </a:lnTo>
                  <a:lnTo>
                    <a:pt x="0" y="73335"/>
                  </a:lnTo>
                  <a:lnTo>
                    <a:pt x="15715" y="1571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97B434F-88C7-489E-A5A9-221112FA079D}"/>
                </a:ext>
              </a:extLst>
            </p:cNvPr>
            <p:cNvSpPr/>
            <p:nvPr/>
          </p:nvSpPr>
          <p:spPr>
            <a:xfrm>
              <a:off x="1623632" y="6025943"/>
              <a:ext cx="26191" cy="94287"/>
            </a:xfrm>
            <a:custGeom>
              <a:avLst/>
              <a:gdLst>
                <a:gd name="connsiteX0" fmla="*/ 15715 w 26190"/>
                <a:gd name="connsiteY0" fmla="*/ 24096 h 94287"/>
                <a:gd name="connsiteX1" fmla="*/ 23572 w 26190"/>
                <a:gd name="connsiteY1" fmla="*/ 24096 h 94287"/>
                <a:gd name="connsiteX2" fmla="*/ 7857 w 26190"/>
                <a:gd name="connsiteY2" fmla="*/ 95859 h 94287"/>
                <a:gd name="connsiteX3" fmla="*/ 0 w 26190"/>
                <a:gd name="connsiteY3" fmla="*/ 95859 h 94287"/>
                <a:gd name="connsiteX4" fmla="*/ 15715 w 26190"/>
                <a:gd name="connsiteY4" fmla="*/ 24096 h 94287"/>
                <a:gd name="connsiteX5" fmla="*/ 24096 w 26190"/>
                <a:gd name="connsiteY5" fmla="*/ 0 h 94287"/>
                <a:gd name="connsiteX6" fmla="*/ 29858 w 26190"/>
                <a:gd name="connsiteY6" fmla="*/ 5238 h 94287"/>
                <a:gd name="connsiteX7" fmla="*/ 23048 w 26190"/>
                <a:gd name="connsiteY7" fmla="*/ 12048 h 94287"/>
                <a:gd name="connsiteX8" fmla="*/ 17286 w 26190"/>
                <a:gd name="connsiteY8" fmla="*/ 6810 h 94287"/>
                <a:gd name="connsiteX9" fmla="*/ 24096 w 26190"/>
                <a:gd name="connsiteY9" fmla="*/ 0 h 9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190" h="94287">
                  <a:moveTo>
                    <a:pt x="15715" y="24096"/>
                  </a:moveTo>
                  <a:lnTo>
                    <a:pt x="23572" y="24096"/>
                  </a:lnTo>
                  <a:lnTo>
                    <a:pt x="7857" y="95859"/>
                  </a:lnTo>
                  <a:lnTo>
                    <a:pt x="0" y="95859"/>
                  </a:lnTo>
                  <a:lnTo>
                    <a:pt x="15715" y="24096"/>
                  </a:lnTo>
                  <a:close/>
                  <a:moveTo>
                    <a:pt x="24096" y="0"/>
                  </a:moveTo>
                  <a:cubicBezTo>
                    <a:pt x="27239" y="0"/>
                    <a:pt x="29858" y="2619"/>
                    <a:pt x="29858" y="5238"/>
                  </a:cubicBezTo>
                  <a:cubicBezTo>
                    <a:pt x="29858" y="9429"/>
                    <a:pt x="26191" y="12048"/>
                    <a:pt x="23048" y="12048"/>
                  </a:cubicBezTo>
                  <a:cubicBezTo>
                    <a:pt x="19905" y="12048"/>
                    <a:pt x="17286" y="9429"/>
                    <a:pt x="17286" y="6810"/>
                  </a:cubicBezTo>
                  <a:cubicBezTo>
                    <a:pt x="17286" y="2619"/>
                    <a:pt x="20953" y="0"/>
                    <a:pt x="24096" y="0"/>
                  </a:cubicBez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3A4FB6E-87EB-4898-AAC3-0D50FFC25F9A}"/>
                </a:ext>
              </a:extLst>
            </p:cNvPr>
            <p:cNvSpPr/>
            <p:nvPr/>
          </p:nvSpPr>
          <p:spPr>
            <a:xfrm>
              <a:off x="1673383" y="6048467"/>
              <a:ext cx="62858" cy="73335"/>
            </a:xfrm>
            <a:custGeom>
              <a:avLst/>
              <a:gdLst>
                <a:gd name="connsiteX0" fmla="*/ 39298 w 62858"/>
                <a:gd name="connsiteY0" fmla="*/ 0 h 73334"/>
                <a:gd name="connsiteX1" fmla="*/ 64965 w 62858"/>
                <a:gd name="connsiteY1" fmla="*/ 13095 h 73334"/>
                <a:gd name="connsiteX2" fmla="*/ 59203 w 62858"/>
                <a:gd name="connsiteY2" fmla="*/ 17810 h 73334"/>
                <a:gd name="connsiteX3" fmla="*/ 39822 w 62858"/>
                <a:gd name="connsiteY3" fmla="*/ 7334 h 73334"/>
                <a:gd name="connsiteX4" fmla="*/ 7869 w 62858"/>
                <a:gd name="connsiteY4" fmla="*/ 44001 h 73334"/>
                <a:gd name="connsiteX5" fmla="*/ 32488 w 62858"/>
                <a:gd name="connsiteY5" fmla="*/ 68620 h 73334"/>
                <a:gd name="connsiteX6" fmla="*/ 51870 w 62858"/>
                <a:gd name="connsiteY6" fmla="*/ 59192 h 73334"/>
                <a:gd name="connsiteX7" fmla="*/ 56584 w 62858"/>
                <a:gd name="connsiteY7" fmla="*/ 64430 h 73334"/>
                <a:gd name="connsiteX8" fmla="*/ 31965 w 62858"/>
                <a:gd name="connsiteY8" fmla="*/ 75430 h 73334"/>
                <a:gd name="connsiteX9" fmla="*/ 12 w 62858"/>
                <a:gd name="connsiteY9" fmla="*/ 43477 h 73334"/>
                <a:gd name="connsiteX10" fmla="*/ 39298 w 62858"/>
                <a:gd name="connsiteY10" fmla="*/ 0 h 73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2858" h="73334">
                  <a:moveTo>
                    <a:pt x="39298" y="0"/>
                  </a:moveTo>
                  <a:cubicBezTo>
                    <a:pt x="51870" y="0"/>
                    <a:pt x="60251" y="4714"/>
                    <a:pt x="64965" y="13095"/>
                  </a:cubicBezTo>
                  <a:lnTo>
                    <a:pt x="59203" y="17810"/>
                  </a:lnTo>
                  <a:cubicBezTo>
                    <a:pt x="55013" y="10476"/>
                    <a:pt x="47679" y="7334"/>
                    <a:pt x="39822" y="7334"/>
                  </a:cubicBezTo>
                  <a:cubicBezTo>
                    <a:pt x="19917" y="7334"/>
                    <a:pt x="7869" y="25143"/>
                    <a:pt x="7869" y="44001"/>
                  </a:cubicBezTo>
                  <a:cubicBezTo>
                    <a:pt x="7869" y="60239"/>
                    <a:pt x="18345" y="68620"/>
                    <a:pt x="32488" y="68620"/>
                  </a:cubicBezTo>
                  <a:cubicBezTo>
                    <a:pt x="40346" y="68620"/>
                    <a:pt x="47155" y="64954"/>
                    <a:pt x="51870" y="59192"/>
                  </a:cubicBezTo>
                  <a:lnTo>
                    <a:pt x="56584" y="64430"/>
                  </a:lnTo>
                  <a:cubicBezTo>
                    <a:pt x="50298" y="71239"/>
                    <a:pt x="42965" y="75430"/>
                    <a:pt x="31965" y="75430"/>
                  </a:cubicBezTo>
                  <a:cubicBezTo>
                    <a:pt x="13631" y="75430"/>
                    <a:pt x="12" y="63906"/>
                    <a:pt x="12" y="43477"/>
                  </a:cubicBezTo>
                  <a:cubicBezTo>
                    <a:pt x="-512" y="19905"/>
                    <a:pt x="16774" y="0"/>
                    <a:pt x="39298" y="0"/>
                  </a:cubicBez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84EAE91F-3E76-470E-9ADE-3EF0DAE866AF}"/>
                </a:ext>
              </a:extLst>
            </p:cNvPr>
            <p:cNvSpPr/>
            <p:nvPr/>
          </p:nvSpPr>
          <p:spPr>
            <a:xfrm>
              <a:off x="1761396" y="6047943"/>
              <a:ext cx="73335" cy="73335"/>
            </a:xfrm>
            <a:custGeom>
              <a:avLst/>
              <a:gdLst>
                <a:gd name="connsiteX0" fmla="*/ 66001 w 73334"/>
                <a:gd name="connsiteY0" fmla="*/ 2095 h 73334"/>
                <a:gd name="connsiteX1" fmla="*/ 73859 w 73334"/>
                <a:gd name="connsiteY1" fmla="*/ 2095 h 73334"/>
                <a:gd name="connsiteX2" fmla="*/ 58144 w 73334"/>
                <a:gd name="connsiteY2" fmla="*/ 73858 h 73334"/>
                <a:gd name="connsiteX3" fmla="*/ 50287 w 73334"/>
                <a:gd name="connsiteY3" fmla="*/ 73858 h 73334"/>
                <a:gd name="connsiteX4" fmla="*/ 52906 w 73334"/>
                <a:gd name="connsiteY4" fmla="*/ 62858 h 73334"/>
                <a:gd name="connsiteX5" fmla="*/ 28286 w 73334"/>
                <a:gd name="connsiteY5" fmla="*/ 75430 h 73334"/>
                <a:gd name="connsiteX6" fmla="*/ 0 w 73334"/>
                <a:gd name="connsiteY6" fmla="*/ 46096 h 73334"/>
                <a:gd name="connsiteX7" fmla="*/ 37715 w 73334"/>
                <a:gd name="connsiteY7" fmla="*/ 0 h 73334"/>
                <a:gd name="connsiteX8" fmla="*/ 63382 w 73334"/>
                <a:gd name="connsiteY8" fmla="*/ 14143 h 73334"/>
                <a:gd name="connsiteX9" fmla="*/ 66001 w 73334"/>
                <a:gd name="connsiteY9" fmla="*/ 2095 h 73334"/>
                <a:gd name="connsiteX10" fmla="*/ 29858 w 73334"/>
                <a:gd name="connsiteY10" fmla="*/ 68620 h 73334"/>
                <a:gd name="connsiteX11" fmla="*/ 54477 w 73334"/>
                <a:gd name="connsiteY11" fmla="*/ 55001 h 73334"/>
                <a:gd name="connsiteX12" fmla="*/ 61811 w 73334"/>
                <a:gd name="connsiteY12" fmla="*/ 20429 h 73334"/>
                <a:gd name="connsiteX13" fmla="*/ 38239 w 73334"/>
                <a:gd name="connsiteY13" fmla="*/ 7333 h 73334"/>
                <a:gd name="connsiteX14" fmla="*/ 8381 w 73334"/>
                <a:gd name="connsiteY14" fmla="*/ 45048 h 73334"/>
                <a:gd name="connsiteX15" fmla="*/ 29858 w 73334"/>
                <a:gd name="connsiteY15" fmla="*/ 68620 h 73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3334" h="73334">
                  <a:moveTo>
                    <a:pt x="66001" y="2095"/>
                  </a:moveTo>
                  <a:lnTo>
                    <a:pt x="73859" y="2095"/>
                  </a:lnTo>
                  <a:lnTo>
                    <a:pt x="58144" y="73858"/>
                  </a:lnTo>
                  <a:lnTo>
                    <a:pt x="50287" y="73858"/>
                  </a:lnTo>
                  <a:lnTo>
                    <a:pt x="52906" y="62858"/>
                  </a:lnTo>
                  <a:cubicBezTo>
                    <a:pt x="47144" y="70192"/>
                    <a:pt x="38239" y="75430"/>
                    <a:pt x="28286" y="75430"/>
                  </a:cubicBezTo>
                  <a:cubicBezTo>
                    <a:pt x="11524" y="75430"/>
                    <a:pt x="0" y="64430"/>
                    <a:pt x="0" y="46096"/>
                  </a:cubicBezTo>
                  <a:cubicBezTo>
                    <a:pt x="0" y="22000"/>
                    <a:pt x="15191" y="0"/>
                    <a:pt x="37715" y="0"/>
                  </a:cubicBezTo>
                  <a:cubicBezTo>
                    <a:pt x="49239" y="0"/>
                    <a:pt x="58668" y="5762"/>
                    <a:pt x="63382" y="14143"/>
                  </a:cubicBezTo>
                  <a:lnTo>
                    <a:pt x="66001" y="2095"/>
                  </a:lnTo>
                  <a:close/>
                  <a:moveTo>
                    <a:pt x="29858" y="68620"/>
                  </a:moveTo>
                  <a:cubicBezTo>
                    <a:pt x="39810" y="68620"/>
                    <a:pt x="49239" y="62334"/>
                    <a:pt x="54477" y="55001"/>
                  </a:cubicBezTo>
                  <a:lnTo>
                    <a:pt x="61811" y="20429"/>
                  </a:lnTo>
                  <a:cubicBezTo>
                    <a:pt x="58144" y="13095"/>
                    <a:pt x="49763" y="7333"/>
                    <a:pt x="38239" y="7333"/>
                  </a:cubicBezTo>
                  <a:cubicBezTo>
                    <a:pt x="20429" y="7333"/>
                    <a:pt x="8381" y="25667"/>
                    <a:pt x="8381" y="45048"/>
                  </a:cubicBezTo>
                  <a:cubicBezTo>
                    <a:pt x="8381" y="59715"/>
                    <a:pt x="16762" y="68620"/>
                    <a:pt x="29858" y="68620"/>
                  </a:cubicBez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68" name="Freeform: Shape 7167">
              <a:extLst>
                <a:ext uri="{FF2B5EF4-FFF2-40B4-BE49-F238E27FC236}">
                  <a16:creationId xmlns:a16="http://schemas.microsoft.com/office/drawing/2014/main" id="{30A5B424-929A-45E7-AB0D-BBEF7064DE4A}"/>
                </a:ext>
              </a:extLst>
            </p:cNvPr>
            <p:cNvSpPr/>
            <p:nvPr/>
          </p:nvSpPr>
          <p:spPr>
            <a:xfrm>
              <a:off x="1871398" y="6021228"/>
              <a:ext cx="15715" cy="26191"/>
            </a:xfrm>
            <a:custGeom>
              <a:avLst/>
              <a:gdLst>
                <a:gd name="connsiteX0" fmla="*/ 0 w 15714"/>
                <a:gd name="connsiteY0" fmla="*/ 25143 h 26190"/>
                <a:gd name="connsiteX1" fmla="*/ 11524 w 15714"/>
                <a:gd name="connsiteY1" fmla="*/ 12572 h 26190"/>
                <a:gd name="connsiteX2" fmla="*/ 10476 w 15714"/>
                <a:gd name="connsiteY2" fmla="*/ 12572 h 26190"/>
                <a:gd name="connsiteX3" fmla="*/ 5238 w 15714"/>
                <a:gd name="connsiteY3" fmla="*/ 7333 h 26190"/>
                <a:gd name="connsiteX4" fmla="*/ 12048 w 15714"/>
                <a:gd name="connsiteY4" fmla="*/ 0 h 26190"/>
                <a:gd name="connsiteX5" fmla="*/ 18334 w 15714"/>
                <a:gd name="connsiteY5" fmla="*/ 7333 h 26190"/>
                <a:gd name="connsiteX6" fmla="*/ 3143 w 15714"/>
                <a:gd name="connsiteY6" fmla="*/ 28810 h 26190"/>
                <a:gd name="connsiteX7" fmla="*/ 0 w 15714"/>
                <a:gd name="connsiteY7" fmla="*/ 25143 h 261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714" h="26190">
                  <a:moveTo>
                    <a:pt x="0" y="25143"/>
                  </a:moveTo>
                  <a:cubicBezTo>
                    <a:pt x="5762" y="22524"/>
                    <a:pt x="10476" y="17286"/>
                    <a:pt x="11524" y="12572"/>
                  </a:cubicBezTo>
                  <a:lnTo>
                    <a:pt x="10476" y="12572"/>
                  </a:lnTo>
                  <a:cubicBezTo>
                    <a:pt x="7857" y="12572"/>
                    <a:pt x="5238" y="9953"/>
                    <a:pt x="5238" y="7333"/>
                  </a:cubicBezTo>
                  <a:cubicBezTo>
                    <a:pt x="5238" y="3143"/>
                    <a:pt x="8381" y="0"/>
                    <a:pt x="12048" y="0"/>
                  </a:cubicBezTo>
                  <a:cubicBezTo>
                    <a:pt x="15715" y="0"/>
                    <a:pt x="18334" y="2619"/>
                    <a:pt x="18334" y="7333"/>
                  </a:cubicBezTo>
                  <a:cubicBezTo>
                    <a:pt x="18334" y="15715"/>
                    <a:pt x="11000" y="25143"/>
                    <a:pt x="3143" y="28810"/>
                  </a:cubicBezTo>
                  <a:lnTo>
                    <a:pt x="0" y="25143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69" name="Freeform: Shape 7168">
              <a:extLst>
                <a:ext uri="{FF2B5EF4-FFF2-40B4-BE49-F238E27FC236}">
                  <a16:creationId xmlns:a16="http://schemas.microsoft.com/office/drawing/2014/main" id="{221B9BE2-29A4-4927-A8BC-4E3B0F9342F5}"/>
                </a:ext>
              </a:extLst>
            </p:cNvPr>
            <p:cNvSpPr/>
            <p:nvPr/>
          </p:nvSpPr>
          <p:spPr>
            <a:xfrm>
              <a:off x="1898637" y="6048467"/>
              <a:ext cx="57620" cy="73335"/>
            </a:xfrm>
            <a:custGeom>
              <a:avLst/>
              <a:gdLst>
                <a:gd name="connsiteX0" fmla="*/ 5238 w 57620"/>
                <a:gd name="connsiteY0" fmla="*/ 57620 h 73334"/>
                <a:gd name="connsiteX1" fmla="*/ 28810 w 57620"/>
                <a:gd name="connsiteY1" fmla="*/ 68620 h 73334"/>
                <a:gd name="connsiteX2" fmla="*/ 47668 w 57620"/>
                <a:gd name="connsiteY2" fmla="*/ 53953 h 73334"/>
                <a:gd name="connsiteX3" fmla="*/ 30382 w 57620"/>
                <a:gd name="connsiteY3" fmla="*/ 39810 h 73334"/>
                <a:gd name="connsiteX4" fmla="*/ 9429 w 57620"/>
                <a:gd name="connsiteY4" fmla="*/ 20429 h 73334"/>
                <a:gd name="connsiteX5" fmla="*/ 35620 w 57620"/>
                <a:gd name="connsiteY5" fmla="*/ 0 h 73334"/>
                <a:gd name="connsiteX6" fmla="*/ 61811 w 57620"/>
                <a:gd name="connsiteY6" fmla="*/ 11524 h 73334"/>
                <a:gd name="connsiteX7" fmla="*/ 57096 w 57620"/>
                <a:gd name="connsiteY7" fmla="*/ 16238 h 73334"/>
                <a:gd name="connsiteX8" fmla="*/ 35096 w 57620"/>
                <a:gd name="connsiteY8" fmla="*/ 6286 h 73334"/>
                <a:gd name="connsiteX9" fmla="*/ 17286 w 57620"/>
                <a:gd name="connsiteY9" fmla="*/ 19381 h 73334"/>
                <a:gd name="connsiteX10" fmla="*/ 34048 w 57620"/>
                <a:gd name="connsiteY10" fmla="*/ 32477 h 73334"/>
                <a:gd name="connsiteX11" fmla="*/ 56049 w 57620"/>
                <a:gd name="connsiteY11" fmla="*/ 52382 h 73334"/>
                <a:gd name="connsiteX12" fmla="*/ 28810 w 57620"/>
                <a:gd name="connsiteY12" fmla="*/ 74906 h 73334"/>
                <a:gd name="connsiteX13" fmla="*/ 0 w 57620"/>
                <a:gd name="connsiteY13" fmla="*/ 62335 h 73334"/>
                <a:gd name="connsiteX14" fmla="*/ 5238 w 57620"/>
                <a:gd name="connsiteY14" fmla="*/ 57620 h 73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20" h="73334">
                  <a:moveTo>
                    <a:pt x="5238" y="57620"/>
                  </a:moveTo>
                  <a:cubicBezTo>
                    <a:pt x="8905" y="63382"/>
                    <a:pt x="17810" y="68620"/>
                    <a:pt x="28810" y="68620"/>
                  </a:cubicBezTo>
                  <a:cubicBezTo>
                    <a:pt x="40858" y="68620"/>
                    <a:pt x="47668" y="61287"/>
                    <a:pt x="47668" y="53953"/>
                  </a:cubicBezTo>
                  <a:cubicBezTo>
                    <a:pt x="47668" y="46620"/>
                    <a:pt x="39286" y="43477"/>
                    <a:pt x="30382" y="39810"/>
                  </a:cubicBezTo>
                  <a:cubicBezTo>
                    <a:pt x="20429" y="35620"/>
                    <a:pt x="9429" y="31429"/>
                    <a:pt x="9429" y="20429"/>
                  </a:cubicBezTo>
                  <a:cubicBezTo>
                    <a:pt x="9429" y="9429"/>
                    <a:pt x="18857" y="0"/>
                    <a:pt x="35620" y="0"/>
                  </a:cubicBezTo>
                  <a:cubicBezTo>
                    <a:pt x="47668" y="0"/>
                    <a:pt x="57620" y="5762"/>
                    <a:pt x="61811" y="11524"/>
                  </a:cubicBezTo>
                  <a:lnTo>
                    <a:pt x="57096" y="16238"/>
                  </a:lnTo>
                  <a:cubicBezTo>
                    <a:pt x="53953" y="10476"/>
                    <a:pt x="44525" y="6286"/>
                    <a:pt x="35096" y="6286"/>
                  </a:cubicBezTo>
                  <a:cubicBezTo>
                    <a:pt x="24096" y="6286"/>
                    <a:pt x="17286" y="12048"/>
                    <a:pt x="17286" y="19381"/>
                  </a:cubicBezTo>
                  <a:cubicBezTo>
                    <a:pt x="17286" y="25667"/>
                    <a:pt x="25143" y="29334"/>
                    <a:pt x="34048" y="32477"/>
                  </a:cubicBezTo>
                  <a:cubicBezTo>
                    <a:pt x="44525" y="36667"/>
                    <a:pt x="56049" y="40858"/>
                    <a:pt x="56049" y="52382"/>
                  </a:cubicBezTo>
                  <a:cubicBezTo>
                    <a:pt x="56049" y="63906"/>
                    <a:pt x="46620" y="74906"/>
                    <a:pt x="28810" y="74906"/>
                  </a:cubicBezTo>
                  <a:cubicBezTo>
                    <a:pt x="15715" y="74906"/>
                    <a:pt x="5762" y="70716"/>
                    <a:pt x="0" y="62335"/>
                  </a:cubicBezTo>
                  <a:lnTo>
                    <a:pt x="5238" y="57620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71" name="Freeform: Shape 7170">
              <a:extLst>
                <a:ext uri="{FF2B5EF4-FFF2-40B4-BE49-F238E27FC236}">
                  <a16:creationId xmlns:a16="http://schemas.microsoft.com/office/drawing/2014/main" id="{07F64CAF-9C43-44C7-8255-7B44A868AFE3}"/>
                </a:ext>
              </a:extLst>
            </p:cNvPr>
            <p:cNvSpPr/>
            <p:nvPr/>
          </p:nvSpPr>
          <p:spPr>
            <a:xfrm>
              <a:off x="2037449" y="6022800"/>
              <a:ext cx="78573" cy="94287"/>
            </a:xfrm>
            <a:custGeom>
              <a:avLst/>
              <a:gdLst>
                <a:gd name="connsiteX0" fmla="*/ 22000 w 78572"/>
                <a:gd name="connsiteY0" fmla="*/ 0 h 94287"/>
                <a:gd name="connsiteX1" fmla="*/ 56573 w 78572"/>
                <a:gd name="connsiteY1" fmla="*/ 0 h 94287"/>
                <a:gd name="connsiteX2" fmla="*/ 82764 w 78572"/>
                <a:gd name="connsiteY2" fmla="*/ 24619 h 94287"/>
                <a:gd name="connsiteX3" fmla="*/ 46096 w 78572"/>
                <a:gd name="connsiteY3" fmla="*/ 57620 h 94287"/>
                <a:gd name="connsiteX4" fmla="*/ 17810 w 78572"/>
                <a:gd name="connsiteY4" fmla="*/ 57620 h 94287"/>
                <a:gd name="connsiteX5" fmla="*/ 8381 w 78572"/>
                <a:gd name="connsiteY5" fmla="*/ 99002 h 94287"/>
                <a:gd name="connsiteX6" fmla="*/ 0 w 78572"/>
                <a:gd name="connsiteY6" fmla="*/ 99002 h 94287"/>
                <a:gd name="connsiteX7" fmla="*/ 22000 w 78572"/>
                <a:gd name="connsiteY7" fmla="*/ 0 h 94287"/>
                <a:gd name="connsiteX8" fmla="*/ 73859 w 78572"/>
                <a:gd name="connsiteY8" fmla="*/ 25667 h 94287"/>
                <a:gd name="connsiteX9" fmla="*/ 55525 w 78572"/>
                <a:gd name="connsiteY9" fmla="*/ 7857 h 94287"/>
                <a:gd name="connsiteX10" fmla="*/ 28810 w 78572"/>
                <a:gd name="connsiteY10" fmla="*/ 7857 h 94287"/>
                <a:gd name="connsiteX11" fmla="*/ 19381 w 78572"/>
                <a:gd name="connsiteY11" fmla="*/ 50287 h 94287"/>
                <a:gd name="connsiteX12" fmla="*/ 47144 w 78572"/>
                <a:gd name="connsiteY12" fmla="*/ 50287 h 94287"/>
                <a:gd name="connsiteX13" fmla="*/ 73859 w 78572"/>
                <a:gd name="connsiteY13" fmla="*/ 25667 h 9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78572" h="94287">
                  <a:moveTo>
                    <a:pt x="22000" y="0"/>
                  </a:moveTo>
                  <a:lnTo>
                    <a:pt x="56573" y="0"/>
                  </a:lnTo>
                  <a:cubicBezTo>
                    <a:pt x="72287" y="0"/>
                    <a:pt x="82764" y="11524"/>
                    <a:pt x="82764" y="24619"/>
                  </a:cubicBezTo>
                  <a:cubicBezTo>
                    <a:pt x="82764" y="39810"/>
                    <a:pt x="72287" y="57620"/>
                    <a:pt x="46096" y="57620"/>
                  </a:cubicBezTo>
                  <a:lnTo>
                    <a:pt x="17810" y="57620"/>
                  </a:lnTo>
                  <a:lnTo>
                    <a:pt x="8381" y="99002"/>
                  </a:lnTo>
                  <a:lnTo>
                    <a:pt x="0" y="99002"/>
                  </a:lnTo>
                  <a:lnTo>
                    <a:pt x="22000" y="0"/>
                  </a:lnTo>
                  <a:close/>
                  <a:moveTo>
                    <a:pt x="73859" y="25667"/>
                  </a:moveTo>
                  <a:cubicBezTo>
                    <a:pt x="73859" y="16238"/>
                    <a:pt x="66001" y="7857"/>
                    <a:pt x="55525" y="7857"/>
                  </a:cubicBezTo>
                  <a:lnTo>
                    <a:pt x="28810" y="7857"/>
                  </a:lnTo>
                  <a:lnTo>
                    <a:pt x="19381" y="50287"/>
                  </a:lnTo>
                  <a:lnTo>
                    <a:pt x="47144" y="50287"/>
                  </a:lnTo>
                  <a:cubicBezTo>
                    <a:pt x="64954" y="50287"/>
                    <a:pt x="73859" y="38763"/>
                    <a:pt x="73859" y="25667"/>
                  </a:cubicBez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72" name="Freeform: Shape 7171">
              <a:extLst>
                <a:ext uri="{FF2B5EF4-FFF2-40B4-BE49-F238E27FC236}">
                  <a16:creationId xmlns:a16="http://schemas.microsoft.com/office/drawing/2014/main" id="{BA6161F5-5614-4EC1-9C5D-586DA90DD2EB}"/>
                </a:ext>
              </a:extLst>
            </p:cNvPr>
            <p:cNvSpPr/>
            <p:nvPr/>
          </p:nvSpPr>
          <p:spPr>
            <a:xfrm>
              <a:off x="2137498" y="6048467"/>
              <a:ext cx="47144" cy="73335"/>
            </a:xfrm>
            <a:custGeom>
              <a:avLst/>
              <a:gdLst>
                <a:gd name="connsiteX0" fmla="*/ 15715 w 47143"/>
                <a:gd name="connsiteY0" fmla="*/ 1571 h 73334"/>
                <a:gd name="connsiteX1" fmla="*/ 23572 w 47143"/>
                <a:gd name="connsiteY1" fmla="*/ 1571 h 73334"/>
                <a:gd name="connsiteX2" fmla="*/ 20953 w 47143"/>
                <a:gd name="connsiteY2" fmla="*/ 13095 h 73334"/>
                <a:gd name="connsiteX3" fmla="*/ 48191 w 47143"/>
                <a:gd name="connsiteY3" fmla="*/ 0 h 73334"/>
                <a:gd name="connsiteX4" fmla="*/ 46620 w 47143"/>
                <a:gd name="connsiteY4" fmla="*/ 8381 h 73334"/>
                <a:gd name="connsiteX5" fmla="*/ 41382 w 47143"/>
                <a:gd name="connsiteY5" fmla="*/ 7857 h 73334"/>
                <a:gd name="connsiteX6" fmla="*/ 19381 w 47143"/>
                <a:gd name="connsiteY6" fmla="*/ 20953 h 73334"/>
                <a:gd name="connsiteX7" fmla="*/ 7857 w 47143"/>
                <a:gd name="connsiteY7" fmla="*/ 73335 h 73334"/>
                <a:gd name="connsiteX8" fmla="*/ 0 w 47143"/>
                <a:gd name="connsiteY8" fmla="*/ 73335 h 73334"/>
                <a:gd name="connsiteX9" fmla="*/ 15715 w 47143"/>
                <a:gd name="connsiteY9" fmla="*/ 1571 h 73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7143" h="73334">
                  <a:moveTo>
                    <a:pt x="15715" y="1571"/>
                  </a:moveTo>
                  <a:lnTo>
                    <a:pt x="23572" y="1571"/>
                  </a:lnTo>
                  <a:lnTo>
                    <a:pt x="20953" y="13095"/>
                  </a:lnTo>
                  <a:cubicBezTo>
                    <a:pt x="28286" y="4714"/>
                    <a:pt x="35620" y="0"/>
                    <a:pt x="48191" y="0"/>
                  </a:cubicBezTo>
                  <a:lnTo>
                    <a:pt x="46620" y="8381"/>
                  </a:lnTo>
                  <a:cubicBezTo>
                    <a:pt x="45572" y="8381"/>
                    <a:pt x="44001" y="7857"/>
                    <a:pt x="41382" y="7857"/>
                  </a:cubicBezTo>
                  <a:cubicBezTo>
                    <a:pt x="32477" y="7857"/>
                    <a:pt x="24096" y="14143"/>
                    <a:pt x="19381" y="20953"/>
                  </a:cubicBezTo>
                  <a:lnTo>
                    <a:pt x="7857" y="73335"/>
                  </a:lnTo>
                  <a:lnTo>
                    <a:pt x="0" y="73335"/>
                  </a:lnTo>
                  <a:lnTo>
                    <a:pt x="15715" y="1571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73" name="Freeform: Shape 7172">
              <a:extLst>
                <a:ext uri="{FF2B5EF4-FFF2-40B4-BE49-F238E27FC236}">
                  <a16:creationId xmlns:a16="http://schemas.microsoft.com/office/drawing/2014/main" id="{FD21636C-3E44-400E-A4A5-D4FDFE15546E}"/>
                </a:ext>
              </a:extLst>
            </p:cNvPr>
            <p:cNvSpPr/>
            <p:nvPr/>
          </p:nvSpPr>
          <p:spPr>
            <a:xfrm>
              <a:off x="2201928" y="6048467"/>
              <a:ext cx="68097" cy="73335"/>
            </a:xfrm>
            <a:custGeom>
              <a:avLst/>
              <a:gdLst>
                <a:gd name="connsiteX0" fmla="*/ 39286 w 68096"/>
                <a:gd name="connsiteY0" fmla="*/ 0 h 73334"/>
                <a:gd name="connsiteX1" fmla="*/ 71239 w 68096"/>
                <a:gd name="connsiteY1" fmla="*/ 31429 h 73334"/>
                <a:gd name="connsiteX2" fmla="*/ 31429 w 68096"/>
                <a:gd name="connsiteY2" fmla="*/ 75430 h 73334"/>
                <a:gd name="connsiteX3" fmla="*/ 0 w 68096"/>
                <a:gd name="connsiteY3" fmla="*/ 44001 h 73334"/>
                <a:gd name="connsiteX4" fmla="*/ 39286 w 68096"/>
                <a:gd name="connsiteY4" fmla="*/ 0 h 73334"/>
                <a:gd name="connsiteX5" fmla="*/ 39286 w 68096"/>
                <a:gd name="connsiteY5" fmla="*/ 6810 h 73334"/>
                <a:gd name="connsiteX6" fmla="*/ 8381 w 68096"/>
                <a:gd name="connsiteY6" fmla="*/ 43477 h 73334"/>
                <a:gd name="connsiteX7" fmla="*/ 31953 w 68096"/>
                <a:gd name="connsiteY7" fmla="*/ 68097 h 73334"/>
                <a:gd name="connsiteX8" fmla="*/ 62858 w 68096"/>
                <a:gd name="connsiteY8" fmla="*/ 31429 h 73334"/>
                <a:gd name="connsiteX9" fmla="*/ 39286 w 68096"/>
                <a:gd name="connsiteY9" fmla="*/ 6810 h 73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8096" h="73334">
                  <a:moveTo>
                    <a:pt x="39286" y="0"/>
                  </a:moveTo>
                  <a:cubicBezTo>
                    <a:pt x="58668" y="0"/>
                    <a:pt x="71239" y="12572"/>
                    <a:pt x="71239" y="31429"/>
                  </a:cubicBezTo>
                  <a:cubicBezTo>
                    <a:pt x="71239" y="54477"/>
                    <a:pt x="54477" y="75430"/>
                    <a:pt x="31429" y="75430"/>
                  </a:cubicBezTo>
                  <a:cubicBezTo>
                    <a:pt x="12048" y="75430"/>
                    <a:pt x="0" y="62858"/>
                    <a:pt x="0" y="44001"/>
                  </a:cubicBezTo>
                  <a:cubicBezTo>
                    <a:pt x="0" y="20953"/>
                    <a:pt x="16762" y="0"/>
                    <a:pt x="39286" y="0"/>
                  </a:cubicBezTo>
                  <a:close/>
                  <a:moveTo>
                    <a:pt x="39286" y="6810"/>
                  </a:moveTo>
                  <a:cubicBezTo>
                    <a:pt x="21476" y="6810"/>
                    <a:pt x="8381" y="24619"/>
                    <a:pt x="8381" y="43477"/>
                  </a:cubicBezTo>
                  <a:cubicBezTo>
                    <a:pt x="8381" y="58668"/>
                    <a:pt x="16762" y="68097"/>
                    <a:pt x="31953" y="68097"/>
                  </a:cubicBezTo>
                  <a:cubicBezTo>
                    <a:pt x="49763" y="68097"/>
                    <a:pt x="62858" y="50287"/>
                    <a:pt x="62858" y="31429"/>
                  </a:cubicBezTo>
                  <a:cubicBezTo>
                    <a:pt x="62858" y="16762"/>
                    <a:pt x="53953" y="6810"/>
                    <a:pt x="39286" y="6810"/>
                  </a:cubicBez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74" name="Freeform: Shape 7173">
              <a:extLst>
                <a:ext uri="{FF2B5EF4-FFF2-40B4-BE49-F238E27FC236}">
                  <a16:creationId xmlns:a16="http://schemas.microsoft.com/office/drawing/2014/main" id="{F14EA181-4B8C-4830-AC9B-87332808278A}"/>
                </a:ext>
              </a:extLst>
            </p:cNvPr>
            <p:cNvSpPr/>
            <p:nvPr/>
          </p:nvSpPr>
          <p:spPr>
            <a:xfrm>
              <a:off x="2296216" y="6048467"/>
              <a:ext cx="57620" cy="73335"/>
            </a:xfrm>
            <a:custGeom>
              <a:avLst/>
              <a:gdLst>
                <a:gd name="connsiteX0" fmla="*/ 5238 w 57620"/>
                <a:gd name="connsiteY0" fmla="*/ 57620 h 73334"/>
                <a:gd name="connsiteX1" fmla="*/ 28810 w 57620"/>
                <a:gd name="connsiteY1" fmla="*/ 68620 h 73334"/>
                <a:gd name="connsiteX2" fmla="*/ 47667 w 57620"/>
                <a:gd name="connsiteY2" fmla="*/ 53953 h 73334"/>
                <a:gd name="connsiteX3" fmla="*/ 30381 w 57620"/>
                <a:gd name="connsiteY3" fmla="*/ 39810 h 73334"/>
                <a:gd name="connsiteX4" fmla="*/ 9429 w 57620"/>
                <a:gd name="connsiteY4" fmla="*/ 20429 h 73334"/>
                <a:gd name="connsiteX5" fmla="*/ 35620 w 57620"/>
                <a:gd name="connsiteY5" fmla="*/ 0 h 73334"/>
                <a:gd name="connsiteX6" fmla="*/ 61811 w 57620"/>
                <a:gd name="connsiteY6" fmla="*/ 11524 h 73334"/>
                <a:gd name="connsiteX7" fmla="*/ 57096 w 57620"/>
                <a:gd name="connsiteY7" fmla="*/ 16238 h 73334"/>
                <a:gd name="connsiteX8" fmla="*/ 35096 w 57620"/>
                <a:gd name="connsiteY8" fmla="*/ 6286 h 73334"/>
                <a:gd name="connsiteX9" fmla="*/ 17286 w 57620"/>
                <a:gd name="connsiteY9" fmla="*/ 19381 h 73334"/>
                <a:gd name="connsiteX10" fmla="*/ 34048 w 57620"/>
                <a:gd name="connsiteY10" fmla="*/ 32477 h 73334"/>
                <a:gd name="connsiteX11" fmla="*/ 56049 w 57620"/>
                <a:gd name="connsiteY11" fmla="*/ 52382 h 73334"/>
                <a:gd name="connsiteX12" fmla="*/ 28810 w 57620"/>
                <a:gd name="connsiteY12" fmla="*/ 74906 h 73334"/>
                <a:gd name="connsiteX13" fmla="*/ 0 w 57620"/>
                <a:gd name="connsiteY13" fmla="*/ 62335 h 73334"/>
                <a:gd name="connsiteX14" fmla="*/ 5238 w 57620"/>
                <a:gd name="connsiteY14" fmla="*/ 57620 h 73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620" h="73334">
                  <a:moveTo>
                    <a:pt x="5238" y="57620"/>
                  </a:moveTo>
                  <a:cubicBezTo>
                    <a:pt x="8905" y="63382"/>
                    <a:pt x="17810" y="68620"/>
                    <a:pt x="28810" y="68620"/>
                  </a:cubicBezTo>
                  <a:cubicBezTo>
                    <a:pt x="40858" y="68620"/>
                    <a:pt x="47667" y="61287"/>
                    <a:pt x="47667" y="53953"/>
                  </a:cubicBezTo>
                  <a:cubicBezTo>
                    <a:pt x="47667" y="46620"/>
                    <a:pt x="39286" y="43477"/>
                    <a:pt x="30381" y="39810"/>
                  </a:cubicBezTo>
                  <a:cubicBezTo>
                    <a:pt x="20429" y="35620"/>
                    <a:pt x="9429" y="31429"/>
                    <a:pt x="9429" y="20429"/>
                  </a:cubicBezTo>
                  <a:cubicBezTo>
                    <a:pt x="9429" y="9429"/>
                    <a:pt x="18857" y="0"/>
                    <a:pt x="35620" y="0"/>
                  </a:cubicBezTo>
                  <a:cubicBezTo>
                    <a:pt x="47667" y="0"/>
                    <a:pt x="57620" y="5762"/>
                    <a:pt x="61811" y="11524"/>
                  </a:cubicBezTo>
                  <a:lnTo>
                    <a:pt x="57096" y="16238"/>
                  </a:lnTo>
                  <a:cubicBezTo>
                    <a:pt x="53953" y="10476"/>
                    <a:pt x="44525" y="6286"/>
                    <a:pt x="35096" y="6286"/>
                  </a:cubicBezTo>
                  <a:cubicBezTo>
                    <a:pt x="24096" y="6286"/>
                    <a:pt x="17286" y="12048"/>
                    <a:pt x="17286" y="19381"/>
                  </a:cubicBezTo>
                  <a:cubicBezTo>
                    <a:pt x="17286" y="25667"/>
                    <a:pt x="25143" y="29334"/>
                    <a:pt x="34048" y="32477"/>
                  </a:cubicBezTo>
                  <a:cubicBezTo>
                    <a:pt x="44525" y="36667"/>
                    <a:pt x="56049" y="40858"/>
                    <a:pt x="56049" y="52382"/>
                  </a:cubicBezTo>
                  <a:cubicBezTo>
                    <a:pt x="56049" y="63906"/>
                    <a:pt x="46620" y="74906"/>
                    <a:pt x="28810" y="74906"/>
                  </a:cubicBezTo>
                  <a:cubicBezTo>
                    <a:pt x="15715" y="74906"/>
                    <a:pt x="5762" y="70716"/>
                    <a:pt x="0" y="62335"/>
                  </a:cubicBezTo>
                  <a:lnTo>
                    <a:pt x="5238" y="57620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75" name="Freeform: Shape 7174">
              <a:extLst>
                <a:ext uri="{FF2B5EF4-FFF2-40B4-BE49-F238E27FC236}">
                  <a16:creationId xmlns:a16="http://schemas.microsoft.com/office/drawing/2014/main" id="{5FC49D4A-1916-46ED-9371-93261F2B4DFE}"/>
                </a:ext>
              </a:extLst>
            </p:cNvPr>
            <p:cNvSpPr/>
            <p:nvPr/>
          </p:nvSpPr>
          <p:spPr>
            <a:xfrm>
              <a:off x="2375836" y="6048991"/>
              <a:ext cx="78573" cy="99526"/>
            </a:xfrm>
            <a:custGeom>
              <a:avLst/>
              <a:gdLst>
                <a:gd name="connsiteX0" fmla="*/ 7857 w 78572"/>
                <a:gd name="connsiteY0" fmla="*/ 100573 h 99525"/>
                <a:gd name="connsiteX1" fmla="*/ 0 w 78572"/>
                <a:gd name="connsiteY1" fmla="*/ 100573 h 99525"/>
                <a:gd name="connsiteX2" fmla="*/ 22000 w 78572"/>
                <a:gd name="connsiteY2" fmla="*/ 1571 h 99525"/>
                <a:gd name="connsiteX3" fmla="*/ 29858 w 78572"/>
                <a:gd name="connsiteY3" fmla="*/ 1571 h 99525"/>
                <a:gd name="connsiteX4" fmla="*/ 27239 w 78572"/>
                <a:gd name="connsiteY4" fmla="*/ 12572 h 99525"/>
                <a:gd name="connsiteX5" fmla="*/ 51858 w 78572"/>
                <a:gd name="connsiteY5" fmla="*/ 0 h 99525"/>
                <a:gd name="connsiteX6" fmla="*/ 79621 w 78572"/>
                <a:gd name="connsiteY6" fmla="*/ 29858 h 99525"/>
                <a:gd name="connsiteX7" fmla="*/ 41906 w 78572"/>
                <a:gd name="connsiteY7" fmla="*/ 75430 h 99525"/>
                <a:gd name="connsiteX8" fmla="*/ 16238 w 78572"/>
                <a:gd name="connsiteY8" fmla="*/ 61287 h 99525"/>
                <a:gd name="connsiteX9" fmla="*/ 7857 w 78572"/>
                <a:gd name="connsiteY9" fmla="*/ 100573 h 99525"/>
                <a:gd name="connsiteX10" fmla="*/ 49763 w 78572"/>
                <a:gd name="connsiteY10" fmla="*/ 6286 h 99525"/>
                <a:gd name="connsiteX11" fmla="*/ 25143 w 78572"/>
                <a:gd name="connsiteY11" fmla="*/ 19905 h 99525"/>
                <a:gd name="connsiteX12" fmla="*/ 17810 w 78572"/>
                <a:gd name="connsiteY12" fmla="*/ 54477 h 99525"/>
                <a:gd name="connsiteX13" fmla="*/ 41382 w 78572"/>
                <a:gd name="connsiteY13" fmla="*/ 67573 h 99525"/>
                <a:gd name="connsiteX14" fmla="*/ 71239 w 78572"/>
                <a:gd name="connsiteY14" fmla="*/ 29858 h 99525"/>
                <a:gd name="connsiteX15" fmla="*/ 49763 w 78572"/>
                <a:gd name="connsiteY15" fmla="*/ 6286 h 9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78572" h="99525">
                  <a:moveTo>
                    <a:pt x="7857" y="100573"/>
                  </a:moveTo>
                  <a:lnTo>
                    <a:pt x="0" y="100573"/>
                  </a:lnTo>
                  <a:lnTo>
                    <a:pt x="22000" y="1571"/>
                  </a:lnTo>
                  <a:lnTo>
                    <a:pt x="29858" y="1571"/>
                  </a:lnTo>
                  <a:lnTo>
                    <a:pt x="27239" y="12572"/>
                  </a:lnTo>
                  <a:cubicBezTo>
                    <a:pt x="33001" y="5238"/>
                    <a:pt x="41906" y="0"/>
                    <a:pt x="51858" y="0"/>
                  </a:cubicBezTo>
                  <a:cubicBezTo>
                    <a:pt x="68097" y="0"/>
                    <a:pt x="79621" y="11000"/>
                    <a:pt x="79621" y="29858"/>
                  </a:cubicBezTo>
                  <a:cubicBezTo>
                    <a:pt x="79621" y="53953"/>
                    <a:pt x="64430" y="75430"/>
                    <a:pt x="41906" y="75430"/>
                  </a:cubicBezTo>
                  <a:cubicBezTo>
                    <a:pt x="29858" y="75430"/>
                    <a:pt x="20953" y="69668"/>
                    <a:pt x="16238" y="61287"/>
                  </a:cubicBezTo>
                  <a:lnTo>
                    <a:pt x="7857" y="100573"/>
                  </a:lnTo>
                  <a:close/>
                  <a:moveTo>
                    <a:pt x="49763" y="6286"/>
                  </a:moveTo>
                  <a:cubicBezTo>
                    <a:pt x="39810" y="6286"/>
                    <a:pt x="30382" y="12572"/>
                    <a:pt x="25143" y="19905"/>
                  </a:cubicBezTo>
                  <a:lnTo>
                    <a:pt x="17810" y="54477"/>
                  </a:lnTo>
                  <a:cubicBezTo>
                    <a:pt x="21477" y="61811"/>
                    <a:pt x="29858" y="67573"/>
                    <a:pt x="41382" y="67573"/>
                  </a:cubicBezTo>
                  <a:cubicBezTo>
                    <a:pt x="59715" y="67573"/>
                    <a:pt x="71239" y="49239"/>
                    <a:pt x="71239" y="29858"/>
                  </a:cubicBezTo>
                  <a:cubicBezTo>
                    <a:pt x="71763" y="15715"/>
                    <a:pt x="62858" y="6286"/>
                    <a:pt x="49763" y="6286"/>
                  </a:cubicBez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76" name="Freeform: Shape 7175">
              <a:extLst>
                <a:ext uri="{FF2B5EF4-FFF2-40B4-BE49-F238E27FC236}">
                  <a16:creationId xmlns:a16="http://schemas.microsoft.com/office/drawing/2014/main" id="{26B5FA82-36E6-4FB0-8A10-8DB46897F67E}"/>
                </a:ext>
              </a:extLst>
            </p:cNvPr>
            <p:cNvSpPr/>
            <p:nvPr/>
          </p:nvSpPr>
          <p:spPr>
            <a:xfrm>
              <a:off x="2483219" y="6048467"/>
              <a:ext cx="68097" cy="73335"/>
            </a:xfrm>
            <a:custGeom>
              <a:avLst/>
              <a:gdLst>
                <a:gd name="connsiteX0" fmla="*/ 40334 w 68096"/>
                <a:gd name="connsiteY0" fmla="*/ 0 h 73334"/>
                <a:gd name="connsiteX1" fmla="*/ 70716 w 68096"/>
                <a:gd name="connsiteY1" fmla="*/ 30905 h 73334"/>
                <a:gd name="connsiteX2" fmla="*/ 69668 w 68096"/>
                <a:gd name="connsiteY2" fmla="*/ 39810 h 73334"/>
                <a:gd name="connsiteX3" fmla="*/ 8905 w 68096"/>
                <a:gd name="connsiteY3" fmla="*/ 39810 h 73334"/>
                <a:gd name="connsiteX4" fmla="*/ 8381 w 68096"/>
                <a:gd name="connsiteY4" fmla="*/ 44001 h 73334"/>
                <a:gd name="connsiteX5" fmla="*/ 34572 w 68096"/>
                <a:gd name="connsiteY5" fmla="*/ 68620 h 73334"/>
                <a:gd name="connsiteX6" fmla="*/ 56049 w 68096"/>
                <a:gd name="connsiteY6" fmla="*/ 60763 h 73334"/>
                <a:gd name="connsiteX7" fmla="*/ 59192 w 68096"/>
                <a:gd name="connsiteY7" fmla="*/ 66525 h 73334"/>
                <a:gd name="connsiteX8" fmla="*/ 34048 w 68096"/>
                <a:gd name="connsiteY8" fmla="*/ 75430 h 73334"/>
                <a:gd name="connsiteX9" fmla="*/ 0 w 68096"/>
                <a:gd name="connsiteY9" fmla="*/ 44001 h 73334"/>
                <a:gd name="connsiteX10" fmla="*/ 40334 w 68096"/>
                <a:gd name="connsiteY10" fmla="*/ 0 h 73334"/>
                <a:gd name="connsiteX11" fmla="*/ 63382 w 68096"/>
                <a:gd name="connsiteY11" fmla="*/ 30905 h 73334"/>
                <a:gd name="connsiteX12" fmla="*/ 39286 w 68096"/>
                <a:gd name="connsiteY12" fmla="*/ 6810 h 73334"/>
                <a:gd name="connsiteX13" fmla="*/ 9429 w 68096"/>
                <a:gd name="connsiteY13" fmla="*/ 34048 h 73334"/>
                <a:gd name="connsiteX14" fmla="*/ 63382 w 68096"/>
                <a:gd name="connsiteY14" fmla="*/ 34048 h 73334"/>
                <a:gd name="connsiteX15" fmla="*/ 63382 w 68096"/>
                <a:gd name="connsiteY15" fmla="*/ 30905 h 73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8096" h="73334">
                  <a:moveTo>
                    <a:pt x="40334" y="0"/>
                  </a:moveTo>
                  <a:cubicBezTo>
                    <a:pt x="59715" y="0"/>
                    <a:pt x="70716" y="13619"/>
                    <a:pt x="70716" y="30905"/>
                  </a:cubicBezTo>
                  <a:cubicBezTo>
                    <a:pt x="70716" y="34048"/>
                    <a:pt x="70192" y="38239"/>
                    <a:pt x="69668" y="39810"/>
                  </a:cubicBezTo>
                  <a:lnTo>
                    <a:pt x="8905" y="39810"/>
                  </a:lnTo>
                  <a:cubicBezTo>
                    <a:pt x="8905" y="40858"/>
                    <a:pt x="8381" y="42953"/>
                    <a:pt x="8381" y="44001"/>
                  </a:cubicBezTo>
                  <a:cubicBezTo>
                    <a:pt x="8381" y="57096"/>
                    <a:pt x="17286" y="68620"/>
                    <a:pt x="34572" y="68620"/>
                  </a:cubicBezTo>
                  <a:cubicBezTo>
                    <a:pt x="41906" y="68620"/>
                    <a:pt x="50287" y="66001"/>
                    <a:pt x="56049" y="60763"/>
                  </a:cubicBezTo>
                  <a:lnTo>
                    <a:pt x="59192" y="66525"/>
                  </a:lnTo>
                  <a:cubicBezTo>
                    <a:pt x="52906" y="71239"/>
                    <a:pt x="43477" y="75430"/>
                    <a:pt x="34048" y="75430"/>
                  </a:cubicBezTo>
                  <a:cubicBezTo>
                    <a:pt x="12572" y="75430"/>
                    <a:pt x="0" y="62335"/>
                    <a:pt x="0" y="44001"/>
                  </a:cubicBezTo>
                  <a:cubicBezTo>
                    <a:pt x="524" y="19905"/>
                    <a:pt x="18334" y="0"/>
                    <a:pt x="40334" y="0"/>
                  </a:cubicBezTo>
                  <a:close/>
                  <a:moveTo>
                    <a:pt x="63382" y="30905"/>
                  </a:moveTo>
                  <a:cubicBezTo>
                    <a:pt x="63382" y="16762"/>
                    <a:pt x="55001" y="6810"/>
                    <a:pt x="39286" y="6810"/>
                  </a:cubicBezTo>
                  <a:cubicBezTo>
                    <a:pt x="24620" y="6810"/>
                    <a:pt x="12048" y="19381"/>
                    <a:pt x="9429" y="34048"/>
                  </a:cubicBezTo>
                  <a:lnTo>
                    <a:pt x="63382" y="34048"/>
                  </a:lnTo>
                  <a:cubicBezTo>
                    <a:pt x="63382" y="33001"/>
                    <a:pt x="63382" y="31429"/>
                    <a:pt x="63382" y="30905"/>
                  </a:cubicBez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77" name="Freeform: Shape 7176">
              <a:extLst>
                <a:ext uri="{FF2B5EF4-FFF2-40B4-BE49-F238E27FC236}">
                  <a16:creationId xmlns:a16="http://schemas.microsoft.com/office/drawing/2014/main" id="{6ADBE3E7-FABE-43CB-A106-7C6A2B5EDF6E}"/>
                </a:ext>
              </a:extLst>
            </p:cNvPr>
            <p:cNvSpPr/>
            <p:nvPr/>
          </p:nvSpPr>
          <p:spPr>
            <a:xfrm>
              <a:off x="2580650" y="6048467"/>
              <a:ext cx="47144" cy="73335"/>
            </a:xfrm>
            <a:custGeom>
              <a:avLst/>
              <a:gdLst>
                <a:gd name="connsiteX0" fmla="*/ 15715 w 47143"/>
                <a:gd name="connsiteY0" fmla="*/ 1571 h 73334"/>
                <a:gd name="connsiteX1" fmla="*/ 23572 w 47143"/>
                <a:gd name="connsiteY1" fmla="*/ 1571 h 73334"/>
                <a:gd name="connsiteX2" fmla="*/ 20953 w 47143"/>
                <a:gd name="connsiteY2" fmla="*/ 13095 h 73334"/>
                <a:gd name="connsiteX3" fmla="*/ 48191 w 47143"/>
                <a:gd name="connsiteY3" fmla="*/ 0 h 73334"/>
                <a:gd name="connsiteX4" fmla="*/ 46620 w 47143"/>
                <a:gd name="connsiteY4" fmla="*/ 8381 h 73334"/>
                <a:gd name="connsiteX5" fmla="*/ 41382 w 47143"/>
                <a:gd name="connsiteY5" fmla="*/ 7857 h 73334"/>
                <a:gd name="connsiteX6" fmla="*/ 19381 w 47143"/>
                <a:gd name="connsiteY6" fmla="*/ 20953 h 73334"/>
                <a:gd name="connsiteX7" fmla="*/ 7857 w 47143"/>
                <a:gd name="connsiteY7" fmla="*/ 73335 h 73334"/>
                <a:gd name="connsiteX8" fmla="*/ 0 w 47143"/>
                <a:gd name="connsiteY8" fmla="*/ 73335 h 73334"/>
                <a:gd name="connsiteX9" fmla="*/ 15715 w 47143"/>
                <a:gd name="connsiteY9" fmla="*/ 1571 h 73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7143" h="73334">
                  <a:moveTo>
                    <a:pt x="15715" y="1571"/>
                  </a:moveTo>
                  <a:lnTo>
                    <a:pt x="23572" y="1571"/>
                  </a:lnTo>
                  <a:lnTo>
                    <a:pt x="20953" y="13095"/>
                  </a:lnTo>
                  <a:cubicBezTo>
                    <a:pt x="28286" y="4714"/>
                    <a:pt x="35620" y="0"/>
                    <a:pt x="48191" y="0"/>
                  </a:cubicBezTo>
                  <a:lnTo>
                    <a:pt x="46620" y="8381"/>
                  </a:lnTo>
                  <a:cubicBezTo>
                    <a:pt x="45572" y="8381"/>
                    <a:pt x="44001" y="7857"/>
                    <a:pt x="41382" y="7857"/>
                  </a:cubicBezTo>
                  <a:cubicBezTo>
                    <a:pt x="32477" y="7857"/>
                    <a:pt x="24096" y="14143"/>
                    <a:pt x="19381" y="20953"/>
                  </a:cubicBezTo>
                  <a:lnTo>
                    <a:pt x="7857" y="73335"/>
                  </a:lnTo>
                  <a:lnTo>
                    <a:pt x="0" y="73335"/>
                  </a:lnTo>
                  <a:lnTo>
                    <a:pt x="15715" y="1571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78" name="Freeform: Shape 7177">
              <a:extLst>
                <a:ext uri="{FF2B5EF4-FFF2-40B4-BE49-F238E27FC236}">
                  <a16:creationId xmlns:a16="http://schemas.microsoft.com/office/drawing/2014/main" id="{E007D0A2-CC5A-4A95-BDA4-3521AD9B42FB}"/>
                </a:ext>
              </a:extLst>
            </p:cNvPr>
            <p:cNvSpPr/>
            <p:nvPr/>
          </p:nvSpPr>
          <p:spPr>
            <a:xfrm>
              <a:off x="2642460" y="6025943"/>
              <a:ext cx="26191" cy="94287"/>
            </a:xfrm>
            <a:custGeom>
              <a:avLst/>
              <a:gdLst>
                <a:gd name="connsiteX0" fmla="*/ 15715 w 26190"/>
                <a:gd name="connsiteY0" fmla="*/ 24096 h 94287"/>
                <a:gd name="connsiteX1" fmla="*/ 23572 w 26190"/>
                <a:gd name="connsiteY1" fmla="*/ 24096 h 94287"/>
                <a:gd name="connsiteX2" fmla="*/ 7857 w 26190"/>
                <a:gd name="connsiteY2" fmla="*/ 95859 h 94287"/>
                <a:gd name="connsiteX3" fmla="*/ 0 w 26190"/>
                <a:gd name="connsiteY3" fmla="*/ 95859 h 94287"/>
                <a:gd name="connsiteX4" fmla="*/ 15715 w 26190"/>
                <a:gd name="connsiteY4" fmla="*/ 24096 h 94287"/>
                <a:gd name="connsiteX5" fmla="*/ 24096 w 26190"/>
                <a:gd name="connsiteY5" fmla="*/ 0 h 94287"/>
                <a:gd name="connsiteX6" fmla="*/ 29858 w 26190"/>
                <a:gd name="connsiteY6" fmla="*/ 5238 h 94287"/>
                <a:gd name="connsiteX7" fmla="*/ 23048 w 26190"/>
                <a:gd name="connsiteY7" fmla="*/ 12048 h 94287"/>
                <a:gd name="connsiteX8" fmla="*/ 17286 w 26190"/>
                <a:gd name="connsiteY8" fmla="*/ 6810 h 94287"/>
                <a:gd name="connsiteX9" fmla="*/ 24096 w 26190"/>
                <a:gd name="connsiteY9" fmla="*/ 0 h 942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190" h="94287">
                  <a:moveTo>
                    <a:pt x="15715" y="24096"/>
                  </a:moveTo>
                  <a:lnTo>
                    <a:pt x="23572" y="24096"/>
                  </a:lnTo>
                  <a:lnTo>
                    <a:pt x="7857" y="95859"/>
                  </a:lnTo>
                  <a:lnTo>
                    <a:pt x="0" y="95859"/>
                  </a:lnTo>
                  <a:lnTo>
                    <a:pt x="15715" y="24096"/>
                  </a:lnTo>
                  <a:close/>
                  <a:moveTo>
                    <a:pt x="24096" y="0"/>
                  </a:moveTo>
                  <a:cubicBezTo>
                    <a:pt x="27239" y="0"/>
                    <a:pt x="29858" y="2619"/>
                    <a:pt x="29858" y="5238"/>
                  </a:cubicBezTo>
                  <a:cubicBezTo>
                    <a:pt x="29858" y="9429"/>
                    <a:pt x="26191" y="12048"/>
                    <a:pt x="23048" y="12048"/>
                  </a:cubicBezTo>
                  <a:cubicBezTo>
                    <a:pt x="19905" y="12048"/>
                    <a:pt x="17286" y="9429"/>
                    <a:pt x="17286" y="6810"/>
                  </a:cubicBezTo>
                  <a:cubicBezTo>
                    <a:pt x="17286" y="2619"/>
                    <a:pt x="20953" y="0"/>
                    <a:pt x="24096" y="0"/>
                  </a:cubicBez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79" name="Freeform: Shape 7178">
              <a:extLst>
                <a:ext uri="{FF2B5EF4-FFF2-40B4-BE49-F238E27FC236}">
                  <a16:creationId xmlns:a16="http://schemas.microsoft.com/office/drawing/2014/main" id="{04913598-F2C3-4D86-BCC3-C0D9EDC73F16}"/>
                </a:ext>
              </a:extLst>
            </p:cNvPr>
            <p:cNvSpPr/>
            <p:nvPr/>
          </p:nvSpPr>
          <p:spPr>
            <a:xfrm>
              <a:off x="2693271" y="6030657"/>
              <a:ext cx="31429" cy="89049"/>
            </a:xfrm>
            <a:custGeom>
              <a:avLst/>
              <a:gdLst>
                <a:gd name="connsiteX0" fmla="*/ 0 w 31429"/>
                <a:gd name="connsiteY0" fmla="*/ 77001 h 89049"/>
                <a:gd name="connsiteX1" fmla="*/ 11524 w 31429"/>
                <a:gd name="connsiteY1" fmla="*/ 26191 h 89049"/>
                <a:gd name="connsiteX2" fmla="*/ 0 w 31429"/>
                <a:gd name="connsiteY2" fmla="*/ 26191 h 89049"/>
                <a:gd name="connsiteX3" fmla="*/ 1571 w 31429"/>
                <a:gd name="connsiteY3" fmla="*/ 19381 h 89049"/>
                <a:gd name="connsiteX4" fmla="*/ 13619 w 31429"/>
                <a:gd name="connsiteY4" fmla="*/ 19381 h 89049"/>
                <a:gd name="connsiteX5" fmla="*/ 17810 w 31429"/>
                <a:gd name="connsiteY5" fmla="*/ 0 h 89049"/>
                <a:gd name="connsiteX6" fmla="*/ 25667 w 31429"/>
                <a:gd name="connsiteY6" fmla="*/ 0 h 89049"/>
                <a:gd name="connsiteX7" fmla="*/ 21477 w 31429"/>
                <a:gd name="connsiteY7" fmla="*/ 19381 h 89049"/>
                <a:gd name="connsiteX8" fmla="*/ 36144 w 31429"/>
                <a:gd name="connsiteY8" fmla="*/ 19381 h 89049"/>
                <a:gd name="connsiteX9" fmla="*/ 34572 w 31429"/>
                <a:gd name="connsiteY9" fmla="*/ 26191 h 89049"/>
                <a:gd name="connsiteX10" fmla="*/ 19905 w 31429"/>
                <a:gd name="connsiteY10" fmla="*/ 26191 h 89049"/>
                <a:gd name="connsiteX11" fmla="*/ 8905 w 31429"/>
                <a:gd name="connsiteY11" fmla="*/ 75954 h 89049"/>
                <a:gd name="connsiteX12" fmla="*/ 8381 w 31429"/>
                <a:gd name="connsiteY12" fmla="*/ 79097 h 89049"/>
                <a:gd name="connsiteX13" fmla="*/ 15715 w 31429"/>
                <a:gd name="connsiteY13" fmla="*/ 85906 h 89049"/>
                <a:gd name="connsiteX14" fmla="*/ 23048 w 31429"/>
                <a:gd name="connsiteY14" fmla="*/ 83287 h 89049"/>
                <a:gd name="connsiteX15" fmla="*/ 24620 w 31429"/>
                <a:gd name="connsiteY15" fmla="*/ 89573 h 89049"/>
                <a:gd name="connsiteX16" fmla="*/ 14143 w 31429"/>
                <a:gd name="connsiteY16" fmla="*/ 93240 h 89049"/>
                <a:gd name="connsiteX17" fmla="*/ 0 w 31429"/>
                <a:gd name="connsiteY17" fmla="*/ 81192 h 89049"/>
                <a:gd name="connsiteX18" fmla="*/ 0 w 31429"/>
                <a:gd name="connsiteY18" fmla="*/ 77001 h 8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1429" h="89049">
                  <a:moveTo>
                    <a:pt x="0" y="77001"/>
                  </a:moveTo>
                  <a:lnTo>
                    <a:pt x="11524" y="26191"/>
                  </a:lnTo>
                  <a:lnTo>
                    <a:pt x="0" y="26191"/>
                  </a:lnTo>
                  <a:lnTo>
                    <a:pt x="1571" y="19381"/>
                  </a:lnTo>
                  <a:lnTo>
                    <a:pt x="13619" y="19381"/>
                  </a:lnTo>
                  <a:lnTo>
                    <a:pt x="17810" y="0"/>
                  </a:lnTo>
                  <a:lnTo>
                    <a:pt x="25667" y="0"/>
                  </a:lnTo>
                  <a:lnTo>
                    <a:pt x="21477" y="19381"/>
                  </a:lnTo>
                  <a:lnTo>
                    <a:pt x="36144" y="19381"/>
                  </a:lnTo>
                  <a:lnTo>
                    <a:pt x="34572" y="26191"/>
                  </a:lnTo>
                  <a:lnTo>
                    <a:pt x="19905" y="26191"/>
                  </a:lnTo>
                  <a:lnTo>
                    <a:pt x="8905" y="75954"/>
                  </a:lnTo>
                  <a:cubicBezTo>
                    <a:pt x="8905" y="76478"/>
                    <a:pt x="8381" y="77525"/>
                    <a:pt x="8381" y="79097"/>
                  </a:cubicBezTo>
                  <a:cubicBezTo>
                    <a:pt x="8381" y="83287"/>
                    <a:pt x="11000" y="85906"/>
                    <a:pt x="15715" y="85906"/>
                  </a:cubicBezTo>
                  <a:cubicBezTo>
                    <a:pt x="18334" y="85906"/>
                    <a:pt x="21477" y="84335"/>
                    <a:pt x="23048" y="83287"/>
                  </a:cubicBezTo>
                  <a:lnTo>
                    <a:pt x="24620" y="89573"/>
                  </a:lnTo>
                  <a:cubicBezTo>
                    <a:pt x="22000" y="91668"/>
                    <a:pt x="18334" y="93240"/>
                    <a:pt x="14143" y="93240"/>
                  </a:cubicBezTo>
                  <a:cubicBezTo>
                    <a:pt x="5238" y="93240"/>
                    <a:pt x="0" y="89573"/>
                    <a:pt x="0" y="81192"/>
                  </a:cubicBezTo>
                  <a:cubicBezTo>
                    <a:pt x="0" y="80668"/>
                    <a:pt x="0" y="78573"/>
                    <a:pt x="0" y="77001"/>
                  </a:cubicBez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80" name="Freeform: Shape 7179">
              <a:extLst>
                <a:ext uri="{FF2B5EF4-FFF2-40B4-BE49-F238E27FC236}">
                  <a16:creationId xmlns:a16="http://schemas.microsoft.com/office/drawing/2014/main" id="{A9ACA1DD-0767-4CF0-B83E-114672E30F65}"/>
                </a:ext>
              </a:extLst>
            </p:cNvPr>
            <p:cNvSpPr/>
            <p:nvPr/>
          </p:nvSpPr>
          <p:spPr>
            <a:xfrm>
              <a:off x="2734129" y="6050038"/>
              <a:ext cx="83811" cy="99526"/>
            </a:xfrm>
            <a:custGeom>
              <a:avLst/>
              <a:gdLst>
                <a:gd name="connsiteX0" fmla="*/ 9953 w 83811"/>
                <a:gd name="connsiteY0" fmla="*/ 93764 h 99525"/>
                <a:gd name="connsiteX1" fmla="*/ 21477 w 83811"/>
                <a:gd name="connsiteY1" fmla="*/ 85383 h 99525"/>
                <a:gd name="connsiteX2" fmla="*/ 29858 w 83811"/>
                <a:gd name="connsiteY2" fmla="*/ 72287 h 99525"/>
                <a:gd name="connsiteX3" fmla="*/ 15715 w 83811"/>
                <a:gd name="connsiteY3" fmla="*/ 0 h 99525"/>
                <a:gd name="connsiteX4" fmla="*/ 24096 w 83811"/>
                <a:gd name="connsiteY4" fmla="*/ 0 h 99525"/>
                <a:gd name="connsiteX5" fmla="*/ 36144 w 83811"/>
                <a:gd name="connsiteY5" fmla="*/ 62858 h 99525"/>
                <a:gd name="connsiteX6" fmla="*/ 75954 w 83811"/>
                <a:gd name="connsiteY6" fmla="*/ 0 h 99525"/>
                <a:gd name="connsiteX7" fmla="*/ 84859 w 83811"/>
                <a:gd name="connsiteY7" fmla="*/ 0 h 99525"/>
                <a:gd name="connsiteX8" fmla="*/ 28286 w 83811"/>
                <a:gd name="connsiteY8" fmla="*/ 87478 h 99525"/>
                <a:gd name="connsiteX9" fmla="*/ 8381 w 83811"/>
                <a:gd name="connsiteY9" fmla="*/ 101097 h 99525"/>
                <a:gd name="connsiteX10" fmla="*/ 0 w 83811"/>
                <a:gd name="connsiteY10" fmla="*/ 99526 h 99525"/>
                <a:gd name="connsiteX11" fmla="*/ 3143 w 83811"/>
                <a:gd name="connsiteY11" fmla="*/ 92192 h 99525"/>
                <a:gd name="connsiteX12" fmla="*/ 9953 w 83811"/>
                <a:gd name="connsiteY12" fmla="*/ 93764 h 99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83811" h="99525">
                  <a:moveTo>
                    <a:pt x="9953" y="93764"/>
                  </a:moveTo>
                  <a:cubicBezTo>
                    <a:pt x="13619" y="93764"/>
                    <a:pt x="16762" y="92192"/>
                    <a:pt x="21477" y="85383"/>
                  </a:cubicBezTo>
                  <a:lnTo>
                    <a:pt x="29858" y="72287"/>
                  </a:lnTo>
                  <a:lnTo>
                    <a:pt x="15715" y="0"/>
                  </a:lnTo>
                  <a:lnTo>
                    <a:pt x="24096" y="0"/>
                  </a:lnTo>
                  <a:lnTo>
                    <a:pt x="36144" y="62858"/>
                  </a:lnTo>
                  <a:lnTo>
                    <a:pt x="75954" y="0"/>
                  </a:lnTo>
                  <a:lnTo>
                    <a:pt x="84859" y="0"/>
                  </a:lnTo>
                  <a:lnTo>
                    <a:pt x="28286" y="87478"/>
                  </a:lnTo>
                  <a:cubicBezTo>
                    <a:pt x="22524" y="96383"/>
                    <a:pt x="16238" y="101097"/>
                    <a:pt x="8381" y="101097"/>
                  </a:cubicBezTo>
                  <a:cubicBezTo>
                    <a:pt x="5238" y="101097"/>
                    <a:pt x="2095" y="100573"/>
                    <a:pt x="0" y="99526"/>
                  </a:cubicBezTo>
                  <a:lnTo>
                    <a:pt x="3143" y="92192"/>
                  </a:lnTo>
                  <a:cubicBezTo>
                    <a:pt x="4191" y="92716"/>
                    <a:pt x="6810" y="93764"/>
                    <a:pt x="9953" y="93764"/>
                  </a:cubicBez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81" name="Freeform: Shape 7180">
              <a:extLst>
                <a:ext uri="{FF2B5EF4-FFF2-40B4-BE49-F238E27FC236}">
                  <a16:creationId xmlns:a16="http://schemas.microsoft.com/office/drawing/2014/main" id="{CA6C4D67-5386-4C13-982A-F88FA1381CDB}"/>
                </a:ext>
              </a:extLst>
            </p:cNvPr>
            <p:cNvSpPr/>
            <p:nvPr/>
          </p:nvSpPr>
          <p:spPr>
            <a:xfrm>
              <a:off x="709043" y="5831606"/>
              <a:ext cx="52382" cy="57620"/>
            </a:xfrm>
            <a:custGeom>
              <a:avLst/>
              <a:gdLst>
                <a:gd name="connsiteX0" fmla="*/ 0 w 52381"/>
                <a:gd name="connsiteY0" fmla="*/ 0 h 57620"/>
                <a:gd name="connsiteX1" fmla="*/ 22524 w 52381"/>
                <a:gd name="connsiteY1" fmla="*/ 0 h 57620"/>
                <a:gd name="connsiteX2" fmla="*/ 53430 w 52381"/>
                <a:gd name="connsiteY2" fmla="*/ 28810 h 57620"/>
                <a:gd name="connsiteX3" fmla="*/ 22524 w 52381"/>
                <a:gd name="connsiteY3" fmla="*/ 57620 h 57620"/>
                <a:gd name="connsiteX4" fmla="*/ 0 w 52381"/>
                <a:gd name="connsiteY4" fmla="*/ 57620 h 57620"/>
                <a:gd name="connsiteX5" fmla="*/ 0 w 52381"/>
                <a:gd name="connsiteY5" fmla="*/ 0 h 57620"/>
                <a:gd name="connsiteX6" fmla="*/ 22524 w 52381"/>
                <a:gd name="connsiteY6" fmla="*/ 47144 h 57620"/>
                <a:gd name="connsiteX7" fmla="*/ 40858 w 52381"/>
                <a:gd name="connsiteY7" fmla="*/ 29334 h 57620"/>
                <a:gd name="connsiteX8" fmla="*/ 22524 w 52381"/>
                <a:gd name="connsiteY8" fmla="*/ 11000 h 57620"/>
                <a:gd name="connsiteX9" fmla="*/ 12048 w 52381"/>
                <a:gd name="connsiteY9" fmla="*/ 11000 h 57620"/>
                <a:gd name="connsiteX10" fmla="*/ 12048 w 52381"/>
                <a:gd name="connsiteY10" fmla="*/ 47144 h 57620"/>
                <a:gd name="connsiteX11" fmla="*/ 22524 w 52381"/>
                <a:gd name="connsiteY11" fmla="*/ 47144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2381" h="57620">
                  <a:moveTo>
                    <a:pt x="0" y="0"/>
                  </a:moveTo>
                  <a:lnTo>
                    <a:pt x="22524" y="0"/>
                  </a:lnTo>
                  <a:cubicBezTo>
                    <a:pt x="40858" y="0"/>
                    <a:pt x="53430" y="11524"/>
                    <a:pt x="53430" y="28810"/>
                  </a:cubicBezTo>
                  <a:cubicBezTo>
                    <a:pt x="53430" y="46096"/>
                    <a:pt x="40858" y="57620"/>
                    <a:pt x="22524" y="57620"/>
                  </a:cubicBezTo>
                  <a:lnTo>
                    <a:pt x="0" y="57620"/>
                  </a:lnTo>
                  <a:lnTo>
                    <a:pt x="0" y="0"/>
                  </a:lnTo>
                  <a:close/>
                  <a:moveTo>
                    <a:pt x="22524" y="47144"/>
                  </a:moveTo>
                  <a:cubicBezTo>
                    <a:pt x="34048" y="47144"/>
                    <a:pt x="40858" y="38763"/>
                    <a:pt x="40858" y="29334"/>
                  </a:cubicBezTo>
                  <a:cubicBezTo>
                    <a:pt x="40858" y="18857"/>
                    <a:pt x="34572" y="11000"/>
                    <a:pt x="22524" y="11000"/>
                  </a:cubicBezTo>
                  <a:lnTo>
                    <a:pt x="12048" y="11000"/>
                  </a:lnTo>
                  <a:lnTo>
                    <a:pt x="12048" y="47144"/>
                  </a:lnTo>
                  <a:lnTo>
                    <a:pt x="22524" y="47144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82" name="Freeform: Shape 7181">
              <a:extLst>
                <a:ext uri="{FF2B5EF4-FFF2-40B4-BE49-F238E27FC236}">
                  <a16:creationId xmlns:a16="http://schemas.microsoft.com/office/drawing/2014/main" id="{54B8F632-1D64-476E-92DC-ED4F553D7F54}"/>
                </a:ext>
              </a:extLst>
            </p:cNvPr>
            <p:cNvSpPr/>
            <p:nvPr/>
          </p:nvSpPr>
          <p:spPr>
            <a:xfrm>
              <a:off x="779758" y="5831606"/>
              <a:ext cx="36667" cy="57620"/>
            </a:xfrm>
            <a:custGeom>
              <a:avLst/>
              <a:gdLst>
                <a:gd name="connsiteX0" fmla="*/ 0 w 36667"/>
                <a:gd name="connsiteY0" fmla="*/ 0 h 57620"/>
                <a:gd name="connsiteX1" fmla="*/ 40858 w 36667"/>
                <a:gd name="connsiteY1" fmla="*/ 0 h 57620"/>
                <a:gd name="connsiteX2" fmla="*/ 40858 w 36667"/>
                <a:gd name="connsiteY2" fmla="*/ 10476 h 57620"/>
                <a:gd name="connsiteX3" fmla="*/ 12048 w 36667"/>
                <a:gd name="connsiteY3" fmla="*/ 10476 h 57620"/>
                <a:gd name="connsiteX4" fmla="*/ 12048 w 36667"/>
                <a:gd name="connsiteY4" fmla="*/ 23048 h 57620"/>
                <a:gd name="connsiteX5" fmla="*/ 39810 w 36667"/>
                <a:gd name="connsiteY5" fmla="*/ 23048 h 57620"/>
                <a:gd name="connsiteX6" fmla="*/ 39810 w 36667"/>
                <a:gd name="connsiteY6" fmla="*/ 33524 h 57620"/>
                <a:gd name="connsiteX7" fmla="*/ 12048 w 36667"/>
                <a:gd name="connsiteY7" fmla="*/ 33524 h 57620"/>
                <a:gd name="connsiteX8" fmla="*/ 12048 w 36667"/>
                <a:gd name="connsiteY8" fmla="*/ 47144 h 57620"/>
                <a:gd name="connsiteX9" fmla="*/ 40858 w 36667"/>
                <a:gd name="connsiteY9" fmla="*/ 47144 h 57620"/>
                <a:gd name="connsiteX10" fmla="*/ 40858 w 36667"/>
                <a:gd name="connsiteY10" fmla="*/ 57620 h 57620"/>
                <a:gd name="connsiteX11" fmla="*/ 0 w 36667"/>
                <a:gd name="connsiteY11" fmla="*/ 57620 h 57620"/>
                <a:gd name="connsiteX12" fmla="*/ 0 w 36667"/>
                <a:gd name="connsiteY12" fmla="*/ 0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667" h="57620">
                  <a:moveTo>
                    <a:pt x="0" y="0"/>
                  </a:moveTo>
                  <a:lnTo>
                    <a:pt x="40858" y="0"/>
                  </a:lnTo>
                  <a:lnTo>
                    <a:pt x="40858" y="10476"/>
                  </a:lnTo>
                  <a:lnTo>
                    <a:pt x="12048" y="10476"/>
                  </a:lnTo>
                  <a:lnTo>
                    <a:pt x="12048" y="23048"/>
                  </a:lnTo>
                  <a:lnTo>
                    <a:pt x="39810" y="23048"/>
                  </a:lnTo>
                  <a:lnTo>
                    <a:pt x="39810" y="33524"/>
                  </a:lnTo>
                  <a:lnTo>
                    <a:pt x="12048" y="33524"/>
                  </a:lnTo>
                  <a:lnTo>
                    <a:pt x="12048" y="47144"/>
                  </a:lnTo>
                  <a:lnTo>
                    <a:pt x="40858" y="47144"/>
                  </a:lnTo>
                  <a:lnTo>
                    <a:pt x="40858" y="57620"/>
                  </a:lnTo>
                  <a:lnTo>
                    <a:pt x="0" y="576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83" name="Freeform: Shape 7182">
              <a:extLst>
                <a:ext uri="{FF2B5EF4-FFF2-40B4-BE49-F238E27FC236}">
                  <a16:creationId xmlns:a16="http://schemas.microsoft.com/office/drawing/2014/main" id="{4462E4BF-923A-4589-B1C6-84F6F1B8412C}"/>
                </a:ext>
              </a:extLst>
            </p:cNvPr>
            <p:cNvSpPr/>
            <p:nvPr/>
          </p:nvSpPr>
          <p:spPr>
            <a:xfrm>
              <a:off x="832664" y="5831606"/>
              <a:ext cx="57620" cy="57620"/>
            </a:xfrm>
            <a:custGeom>
              <a:avLst/>
              <a:gdLst>
                <a:gd name="connsiteX0" fmla="*/ 0 w 57620"/>
                <a:gd name="connsiteY0" fmla="*/ 0 h 57620"/>
                <a:gd name="connsiteX1" fmla="*/ 14143 w 57620"/>
                <a:gd name="connsiteY1" fmla="*/ 0 h 57620"/>
                <a:gd name="connsiteX2" fmla="*/ 30382 w 57620"/>
                <a:gd name="connsiteY2" fmla="*/ 44525 h 57620"/>
                <a:gd name="connsiteX3" fmla="*/ 46096 w 57620"/>
                <a:gd name="connsiteY3" fmla="*/ 0 h 57620"/>
                <a:gd name="connsiteX4" fmla="*/ 60239 w 57620"/>
                <a:gd name="connsiteY4" fmla="*/ 0 h 57620"/>
                <a:gd name="connsiteX5" fmla="*/ 37715 w 57620"/>
                <a:gd name="connsiteY5" fmla="*/ 57620 h 57620"/>
                <a:gd name="connsiteX6" fmla="*/ 22524 w 57620"/>
                <a:gd name="connsiteY6" fmla="*/ 57620 h 57620"/>
                <a:gd name="connsiteX7" fmla="*/ 0 w 57620"/>
                <a:gd name="connsiteY7" fmla="*/ 0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620" h="57620">
                  <a:moveTo>
                    <a:pt x="0" y="0"/>
                  </a:moveTo>
                  <a:lnTo>
                    <a:pt x="14143" y="0"/>
                  </a:lnTo>
                  <a:lnTo>
                    <a:pt x="30382" y="44525"/>
                  </a:lnTo>
                  <a:lnTo>
                    <a:pt x="46096" y="0"/>
                  </a:lnTo>
                  <a:lnTo>
                    <a:pt x="60239" y="0"/>
                  </a:lnTo>
                  <a:lnTo>
                    <a:pt x="37715" y="57620"/>
                  </a:lnTo>
                  <a:lnTo>
                    <a:pt x="22524" y="576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84" name="Freeform: Shape 7183">
              <a:extLst>
                <a:ext uri="{FF2B5EF4-FFF2-40B4-BE49-F238E27FC236}">
                  <a16:creationId xmlns:a16="http://schemas.microsoft.com/office/drawing/2014/main" id="{A015C176-4736-4968-9150-6B33C2C121D4}"/>
                </a:ext>
              </a:extLst>
            </p:cNvPr>
            <p:cNvSpPr/>
            <p:nvPr/>
          </p:nvSpPr>
          <p:spPr>
            <a:xfrm>
              <a:off x="907046" y="5831606"/>
              <a:ext cx="36667" cy="57620"/>
            </a:xfrm>
            <a:custGeom>
              <a:avLst/>
              <a:gdLst>
                <a:gd name="connsiteX0" fmla="*/ 0 w 36667"/>
                <a:gd name="connsiteY0" fmla="*/ 0 h 57620"/>
                <a:gd name="connsiteX1" fmla="*/ 40858 w 36667"/>
                <a:gd name="connsiteY1" fmla="*/ 0 h 57620"/>
                <a:gd name="connsiteX2" fmla="*/ 40858 w 36667"/>
                <a:gd name="connsiteY2" fmla="*/ 10476 h 57620"/>
                <a:gd name="connsiteX3" fmla="*/ 12048 w 36667"/>
                <a:gd name="connsiteY3" fmla="*/ 10476 h 57620"/>
                <a:gd name="connsiteX4" fmla="*/ 12048 w 36667"/>
                <a:gd name="connsiteY4" fmla="*/ 23048 h 57620"/>
                <a:gd name="connsiteX5" fmla="*/ 39810 w 36667"/>
                <a:gd name="connsiteY5" fmla="*/ 23048 h 57620"/>
                <a:gd name="connsiteX6" fmla="*/ 39810 w 36667"/>
                <a:gd name="connsiteY6" fmla="*/ 33524 h 57620"/>
                <a:gd name="connsiteX7" fmla="*/ 12048 w 36667"/>
                <a:gd name="connsiteY7" fmla="*/ 33524 h 57620"/>
                <a:gd name="connsiteX8" fmla="*/ 12048 w 36667"/>
                <a:gd name="connsiteY8" fmla="*/ 47144 h 57620"/>
                <a:gd name="connsiteX9" fmla="*/ 40858 w 36667"/>
                <a:gd name="connsiteY9" fmla="*/ 47144 h 57620"/>
                <a:gd name="connsiteX10" fmla="*/ 40858 w 36667"/>
                <a:gd name="connsiteY10" fmla="*/ 57620 h 57620"/>
                <a:gd name="connsiteX11" fmla="*/ 0 w 36667"/>
                <a:gd name="connsiteY11" fmla="*/ 57620 h 57620"/>
                <a:gd name="connsiteX12" fmla="*/ 0 w 36667"/>
                <a:gd name="connsiteY12" fmla="*/ 0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667" h="57620">
                  <a:moveTo>
                    <a:pt x="0" y="0"/>
                  </a:moveTo>
                  <a:lnTo>
                    <a:pt x="40858" y="0"/>
                  </a:lnTo>
                  <a:lnTo>
                    <a:pt x="40858" y="10476"/>
                  </a:lnTo>
                  <a:lnTo>
                    <a:pt x="12048" y="10476"/>
                  </a:lnTo>
                  <a:lnTo>
                    <a:pt x="12048" y="23048"/>
                  </a:lnTo>
                  <a:lnTo>
                    <a:pt x="39810" y="23048"/>
                  </a:lnTo>
                  <a:lnTo>
                    <a:pt x="39810" y="33524"/>
                  </a:lnTo>
                  <a:lnTo>
                    <a:pt x="12048" y="33524"/>
                  </a:lnTo>
                  <a:lnTo>
                    <a:pt x="12048" y="47144"/>
                  </a:lnTo>
                  <a:lnTo>
                    <a:pt x="40858" y="47144"/>
                  </a:lnTo>
                  <a:lnTo>
                    <a:pt x="40858" y="57620"/>
                  </a:lnTo>
                  <a:lnTo>
                    <a:pt x="0" y="576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85" name="Freeform: Shape 7184">
              <a:extLst>
                <a:ext uri="{FF2B5EF4-FFF2-40B4-BE49-F238E27FC236}">
                  <a16:creationId xmlns:a16="http://schemas.microsoft.com/office/drawing/2014/main" id="{90F2AAF4-2B20-4E40-AA6A-AD4E2D6BE3D0}"/>
                </a:ext>
              </a:extLst>
            </p:cNvPr>
            <p:cNvSpPr/>
            <p:nvPr/>
          </p:nvSpPr>
          <p:spPr>
            <a:xfrm>
              <a:off x="965714" y="5831606"/>
              <a:ext cx="36667" cy="57620"/>
            </a:xfrm>
            <a:custGeom>
              <a:avLst/>
              <a:gdLst>
                <a:gd name="connsiteX0" fmla="*/ 0 w 36667"/>
                <a:gd name="connsiteY0" fmla="*/ 0 h 57620"/>
                <a:gd name="connsiteX1" fmla="*/ 12048 w 36667"/>
                <a:gd name="connsiteY1" fmla="*/ 0 h 57620"/>
                <a:gd name="connsiteX2" fmla="*/ 12048 w 36667"/>
                <a:gd name="connsiteY2" fmla="*/ 47144 h 57620"/>
                <a:gd name="connsiteX3" fmla="*/ 36667 w 36667"/>
                <a:gd name="connsiteY3" fmla="*/ 47144 h 57620"/>
                <a:gd name="connsiteX4" fmla="*/ 36667 w 36667"/>
                <a:gd name="connsiteY4" fmla="*/ 58144 h 57620"/>
                <a:gd name="connsiteX5" fmla="*/ 0 w 36667"/>
                <a:gd name="connsiteY5" fmla="*/ 58144 h 57620"/>
                <a:gd name="connsiteX6" fmla="*/ 0 w 36667"/>
                <a:gd name="connsiteY6" fmla="*/ 0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6667" h="57620">
                  <a:moveTo>
                    <a:pt x="0" y="0"/>
                  </a:moveTo>
                  <a:lnTo>
                    <a:pt x="12048" y="0"/>
                  </a:lnTo>
                  <a:lnTo>
                    <a:pt x="12048" y="47144"/>
                  </a:lnTo>
                  <a:lnTo>
                    <a:pt x="36667" y="47144"/>
                  </a:lnTo>
                  <a:lnTo>
                    <a:pt x="36667" y="58144"/>
                  </a:lnTo>
                  <a:lnTo>
                    <a:pt x="0" y="581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86" name="Freeform: Shape 7185">
              <a:extLst>
                <a:ext uri="{FF2B5EF4-FFF2-40B4-BE49-F238E27FC236}">
                  <a16:creationId xmlns:a16="http://schemas.microsoft.com/office/drawing/2014/main" id="{66ECE766-55B1-4822-A55F-91D5CAA30009}"/>
                </a:ext>
              </a:extLst>
            </p:cNvPr>
            <p:cNvSpPr/>
            <p:nvPr/>
          </p:nvSpPr>
          <p:spPr>
            <a:xfrm>
              <a:off x="1014429" y="5831082"/>
              <a:ext cx="57620" cy="57620"/>
            </a:xfrm>
            <a:custGeom>
              <a:avLst/>
              <a:gdLst>
                <a:gd name="connsiteX0" fmla="*/ 30382 w 57620"/>
                <a:gd name="connsiteY0" fmla="*/ 0 h 57620"/>
                <a:gd name="connsiteX1" fmla="*/ 60763 w 57620"/>
                <a:gd name="connsiteY1" fmla="*/ 29858 h 57620"/>
                <a:gd name="connsiteX2" fmla="*/ 30382 w 57620"/>
                <a:gd name="connsiteY2" fmla="*/ 59715 h 57620"/>
                <a:gd name="connsiteX3" fmla="*/ 0 w 57620"/>
                <a:gd name="connsiteY3" fmla="*/ 29858 h 57620"/>
                <a:gd name="connsiteX4" fmla="*/ 30382 w 57620"/>
                <a:gd name="connsiteY4" fmla="*/ 0 h 57620"/>
                <a:gd name="connsiteX5" fmla="*/ 30382 w 57620"/>
                <a:gd name="connsiteY5" fmla="*/ 10476 h 57620"/>
                <a:gd name="connsiteX6" fmla="*/ 13095 w 57620"/>
                <a:gd name="connsiteY6" fmla="*/ 29334 h 57620"/>
                <a:gd name="connsiteX7" fmla="*/ 30382 w 57620"/>
                <a:gd name="connsiteY7" fmla="*/ 48191 h 57620"/>
                <a:gd name="connsiteX8" fmla="*/ 48191 w 57620"/>
                <a:gd name="connsiteY8" fmla="*/ 29334 h 57620"/>
                <a:gd name="connsiteX9" fmla="*/ 30382 w 57620"/>
                <a:gd name="connsiteY9" fmla="*/ 10476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620" h="57620">
                  <a:moveTo>
                    <a:pt x="30382" y="0"/>
                  </a:moveTo>
                  <a:cubicBezTo>
                    <a:pt x="47668" y="0"/>
                    <a:pt x="60763" y="12572"/>
                    <a:pt x="60763" y="29858"/>
                  </a:cubicBezTo>
                  <a:cubicBezTo>
                    <a:pt x="60763" y="47144"/>
                    <a:pt x="48191" y="59715"/>
                    <a:pt x="30382" y="59715"/>
                  </a:cubicBezTo>
                  <a:cubicBezTo>
                    <a:pt x="13095" y="59715"/>
                    <a:pt x="0" y="47144"/>
                    <a:pt x="0" y="29858"/>
                  </a:cubicBezTo>
                  <a:cubicBezTo>
                    <a:pt x="524" y="12048"/>
                    <a:pt x="13095" y="0"/>
                    <a:pt x="30382" y="0"/>
                  </a:cubicBezTo>
                  <a:close/>
                  <a:moveTo>
                    <a:pt x="30382" y="10476"/>
                  </a:moveTo>
                  <a:cubicBezTo>
                    <a:pt x="19905" y="10476"/>
                    <a:pt x="13095" y="18858"/>
                    <a:pt x="13095" y="29334"/>
                  </a:cubicBezTo>
                  <a:cubicBezTo>
                    <a:pt x="13095" y="40334"/>
                    <a:pt x="19905" y="48191"/>
                    <a:pt x="30382" y="48191"/>
                  </a:cubicBezTo>
                  <a:cubicBezTo>
                    <a:pt x="40858" y="48191"/>
                    <a:pt x="48191" y="39810"/>
                    <a:pt x="48191" y="29334"/>
                  </a:cubicBezTo>
                  <a:cubicBezTo>
                    <a:pt x="48191" y="18858"/>
                    <a:pt x="40858" y="10476"/>
                    <a:pt x="30382" y="10476"/>
                  </a:cubicBez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87" name="Freeform: Shape 7186">
              <a:extLst>
                <a:ext uri="{FF2B5EF4-FFF2-40B4-BE49-F238E27FC236}">
                  <a16:creationId xmlns:a16="http://schemas.microsoft.com/office/drawing/2014/main" id="{321084EE-40C0-44DB-A9E4-1E2689F6B20E}"/>
                </a:ext>
              </a:extLst>
            </p:cNvPr>
            <p:cNvSpPr/>
            <p:nvPr/>
          </p:nvSpPr>
          <p:spPr>
            <a:xfrm>
              <a:off x="1092479" y="5831606"/>
              <a:ext cx="41906" cy="57620"/>
            </a:xfrm>
            <a:custGeom>
              <a:avLst/>
              <a:gdLst>
                <a:gd name="connsiteX0" fmla="*/ 0 w 41905"/>
                <a:gd name="connsiteY0" fmla="*/ 0 h 57620"/>
                <a:gd name="connsiteX1" fmla="*/ 27239 w 41905"/>
                <a:gd name="connsiteY1" fmla="*/ 0 h 57620"/>
                <a:gd name="connsiteX2" fmla="*/ 46620 w 41905"/>
                <a:gd name="connsiteY2" fmla="*/ 18857 h 57620"/>
                <a:gd name="connsiteX3" fmla="*/ 27239 w 41905"/>
                <a:gd name="connsiteY3" fmla="*/ 37191 h 57620"/>
                <a:gd name="connsiteX4" fmla="*/ 12572 w 41905"/>
                <a:gd name="connsiteY4" fmla="*/ 37191 h 57620"/>
                <a:gd name="connsiteX5" fmla="*/ 12572 w 41905"/>
                <a:gd name="connsiteY5" fmla="*/ 58144 h 57620"/>
                <a:gd name="connsiteX6" fmla="*/ 524 w 41905"/>
                <a:gd name="connsiteY6" fmla="*/ 58144 h 57620"/>
                <a:gd name="connsiteX7" fmla="*/ 524 w 41905"/>
                <a:gd name="connsiteY7" fmla="*/ 0 h 57620"/>
                <a:gd name="connsiteX8" fmla="*/ 25143 w 41905"/>
                <a:gd name="connsiteY8" fmla="*/ 11000 h 57620"/>
                <a:gd name="connsiteX9" fmla="*/ 12048 w 41905"/>
                <a:gd name="connsiteY9" fmla="*/ 11000 h 57620"/>
                <a:gd name="connsiteX10" fmla="*/ 12048 w 41905"/>
                <a:gd name="connsiteY10" fmla="*/ 26715 h 57620"/>
                <a:gd name="connsiteX11" fmla="*/ 25143 w 41905"/>
                <a:gd name="connsiteY11" fmla="*/ 26715 h 57620"/>
                <a:gd name="connsiteX12" fmla="*/ 33524 w 41905"/>
                <a:gd name="connsiteY12" fmla="*/ 18857 h 57620"/>
                <a:gd name="connsiteX13" fmla="*/ 25143 w 41905"/>
                <a:gd name="connsiteY13" fmla="*/ 11000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1905" h="57620">
                  <a:moveTo>
                    <a:pt x="0" y="0"/>
                  </a:moveTo>
                  <a:lnTo>
                    <a:pt x="27239" y="0"/>
                  </a:lnTo>
                  <a:cubicBezTo>
                    <a:pt x="39810" y="0"/>
                    <a:pt x="46620" y="8381"/>
                    <a:pt x="46620" y="18857"/>
                  </a:cubicBezTo>
                  <a:cubicBezTo>
                    <a:pt x="46620" y="28810"/>
                    <a:pt x="39810" y="37191"/>
                    <a:pt x="27239" y="37191"/>
                  </a:cubicBezTo>
                  <a:lnTo>
                    <a:pt x="12572" y="37191"/>
                  </a:lnTo>
                  <a:lnTo>
                    <a:pt x="12572" y="58144"/>
                  </a:lnTo>
                  <a:lnTo>
                    <a:pt x="524" y="58144"/>
                  </a:lnTo>
                  <a:lnTo>
                    <a:pt x="524" y="0"/>
                  </a:lnTo>
                  <a:close/>
                  <a:moveTo>
                    <a:pt x="25143" y="11000"/>
                  </a:moveTo>
                  <a:lnTo>
                    <a:pt x="12048" y="11000"/>
                  </a:lnTo>
                  <a:lnTo>
                    <a:pt x="12048" y="26715"/>
                  </a:lnTo>
                  <a:lnTo>
                    <a:pt x="25143" y="26715"/>
                  </a:lnTo>
                  <a:cubicBezTo>
                    <a:pt x="29858" y="26715"/>
                    <a:pt x="33524" y="23572"/>
                    <a:pt x="33524" y="18857"/>
                  </a:cubicBezTo>
                  <a:cubicBezTo>
                    <a:pt x="33524" y="14143"/>
                    <a:pt x="30382" y="11000"/>
                    <a:pt x="25143" y="11000"/>
                  </a:cubicBez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88" name="Freeform: Shape 7187">
              <a:extLst>
                <a:ext uri="{FF2B5EF4-FFF2-40B4-BE49-F238E27FC236}">
                  <a16:creationId xmlns:a16="http://schemas.microsoft.com/office/drawing/2014/main" id="{BD50A66B-9C61-446C-9B4A-E432CA394FDB}"/>
                </a:ext>
              </a:extLst>
            </p:cNvPr>
            <p:cNvSpPr/>
            <p:nvPr/>
          </p:nvSpPr>
          <p:spPr>
            <a:xfrm>
              <a:off x="1155337" y="5831606"/>
              <a:ext cx="62858" cy="57620"/>
            </a:xfrm>
            <a:custGeom>
              <a:avLst/>
              <a:gdLst>
                <a:gd name="connsiteX0" fmla="*/ 49763 w 62858"/>
                <a:gd name="connsiteY0" fmla="*/ 16238 h 57620"/>
                <a:gd name="connsiteX1" fmla="*/ 33524 w 62858"/>
                <a:gd name="connsiteY1" fmla="*/ 57620 h 57620"/>
                <a:gd name="connsiteX2" fmla="*/ 28286 w 62858"/>
                <a:gd name="connsiteY2" fmla="*/ 57620 h 57620"/>
                <a:gd name="connsiteX3" fmla="*/ 12048 w 62858"/>
                <a:gd name="connsiteY3" fmla="*/ 16238 h 57620"/>
                <a:gd name="connsiteX4" fmla="*/ 12048 w 62858"/>
                <a:gd name="connsiteY4" fmla="*/ 57620 h 57620"/>
                <a:gd name="connsiteX5" fmla="*/ 0 w 62858"/>
                <a:gd name="connsiteY5" fmla="*/ 57620 h 57620"/>
                <a:gd name="connsiteX6" fmla="*/ 0 w 62858"/>
                <a:gd name="connsiteY6" fmla="*/ 0 h 57620"/>
                <a:gd name="connsiteX7" fmla="*/ 17286 w 62858"/>
                <a:gd name="connsiteY7" fmla="*/ 0 h 57620"/>
                <a:gd name="connsiteX8" fmla="*/ 31429 w 62858"/>
                <a:gd name="connsiteY8" fmla="*/ 36144 h 57620"/>
                <a:gd name="connsiteX9" fmla="*/ 45572 w 62858"/>
                <a:gd name="connsiteY9" fmla="*/ 0 h 57620"/>
                <a:gd name="connsiteX10" fmla="*/ 62858 w 62858"/>
                <a:gd name="connsiteY10" fmla="*/ 0 h 57620"/>
                <a:gd name="connsiteX11" fmla="*/ 62858 w 62858"/>
                <a:gd name="connsiteY11" fmla="*/ 57620 h 57620"/>
                <a:gd name="connsiteX12" fmla="*/ 50287 w 62858"/>
                <a:gd name="connsiteY12" fmla="*/ 57620 h 57620"/>
                <a:gd name="connsiteX13" fmla="*/ 50287 w 62858"/>
                <a:gd name="connsiteY13" fmla="*/ 16238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2858" h="57620">
                  <a:moveTo>
                    <a:pt x="49763" y="16238"/>
                  </a:moveTo>
                  <a:lnTo>
                    <a:pt x="33524" y="57620"/>
                  </a:lnTo>
                  <a:lnTo>
                    <a:pt x="28286" y="57620"/>
                  </a:lnTo>
                  <a:lnTo>
                    <a:pt x="12048" y="16238"/>
                  </a:lnTo>
                  <a:lnTo>
                    <a:pt x="12048" y="57620"/>
                  </a:lnTo>
                  <a:lnTo>
                    <a:pt x="0" y="57620"/>
                  </a:lnTo>
                  <a:lnTo>
                    <a:pt x="0" y="0"/>
                  </a:lnTo>
                  <a:lnTo>
                    <a:pt x="17286" y="0"/>
                  </a:lnTo>
                  <a:lnTo>
                    <a:pt x="31429" y="36144"/>
                  </a:lnTo>
                  <a:lnTo>
                    <a:pt x="45572" y="0"/>
                  </a:lnTo>
                  <a:lnTo>
                    <a:pt x="62858" y="0"/>
                  </a:lnTo>
                  <a:lnTo>
                    <a:pt x="62858" y="57620"/>
                  </a:lnTo>
                  <a:lnTo>
                    <a:pt x="50287" y="57620"/>
                  </a:lnTo>
                  <a:lnTo>
                    <a:pt x="50287" y="16238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89" name="Freeform: Shape 7188">
              <a:extLst>
                <a:ext uri="{FF2B5EF4-FFF2-40B4-BE49-F238E27FC236}">
                  <a16:creationId xmlns:a16="http://schemas.microsoft.com/office/drawing/2014/main" id="{86A6B979-1BB6-4D75-BC86-49538465E7AF}"/>
                </a:ext>
              </a:extLst>
            </p:cNvPr>
            <p:cNvSpPr/>
            <p:nvPr/>
          </p:nvSpPr>
          <p:spPr>
            <a:xfrm>
              <a:off x="1237577" y="5831606"/>
              <a:ext cx="36667" cy="57620"/>
            </a:xfrm>
            <a:custGeom>
              <a:avLst/>
              <a:gdLst>
                <a:gd name="connsiteX0" fmla="*/ 0 w 36667"/>
                <a:gd name="connsiteY0" fmla="*/ 0 h 57620"/>
                <a:gd name="connsiteX1" fmla="*/ 40858 w 36667"/>
                <a:gd name="connsiteY1" fmla="*/ 0 h 57620"/>
                <a:gd name="connsiteX2" fmla="*/ 40858 w 36667"/>
                <a:gd name="connsiteY2" fmla="*/ 10476 h 57620"/>
                <a:gd name="connsiteX3" fmla="*/ 12048 w 36667"/>
                <a:gd name="connsiteY3" fmla="*/ 10476 h 57620"/>
                <a:gd name="connsiteX4" fmla="*/ 12048 w 36667"/>
                <a:gd name="connsiteY4" fmla="*/ 23048 h 57620"/>
                <a:gd name="connsiteX5" fmla="*/ 39810 w 36667"/>
                <a:gd name="connsiteY5" fmla="*/ 23048 h 57620"/>
                <a:gd name="connsiteX6" fmla="*/ 39810 w 36667"/>
                <a:gd name="connsiteY6" fmla="*/ 33524 h 57620"/>
                <a:gd name="connsiteX7" fmla="*/ 12048 w 36667"/>
                <a:gd name="connsiteY7" fmla="*/ 33524 h 57620"/>
                <a:gd name="connsiteX8" fmla="*/ 12048 w 36667"/>
                <a:gd name="connsiteY8" fmla="*/ 47144 h 57620"/>
                <a:gd name="connsiteX9" fmla="*/ 40858 w 36667"/>
                <a:gd name="connsiteY9" fmla="*/ 47144 h 57620"/>
                <a:gd name="connsiteX10" fmla="*/ 40858 w 36667"/>
                <a:gd name="connsiteY10" fmla="*/ 57620 h 57620"/>
                <a:gd name="connsiteX11" fmla="*/ 0 w 36667"/>
                <a:gd name="connsiteY11" fmla="*/ 57620 h 57620"/>
                <a:gd name="connsiteX12" fmla="*/ 0 w 36667"/>
                <a:gd name="connsiteY12" fmla="*/ 0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667" h="57620">
                  <a:moveTo>
                    <a:pt x="0" y="0"/>
                  </a:moveTo>
                  <a:lnTo>
                    <a:pt x="40858" y="0"/>
                  </a:lnTo>
                  <a:lnTo>
                    <a:pt x="40858" y="10476"/>
                  </a:lnTo>
                  <a:lnTo>
                    <a:pt x="12048" y="10476"/>
                  </a:lnTo>
                  <a:lnTo>
                    <a:pt x="12048" y="23048"/>
                  </a:lnTo>
                  <a:lnTo>
                    <a:pt x="39810" y="23048"/>
                  </a:lnTo>
                  <a:lnTo>
                    <a:pt x="39810" y="33524"/>
                  </a:lnTo>
                  <a:lnTo>
                    <a:pt x="12048" y="33524"/>
                  </a:lnTo>
                  <a:lnTo>
                    <a:pt x="12048" y="47144"/>
                  </a:lnTo>
                  <a:lnTo>
                    <a:pt x="40858" y="47144"/>
                  </a:lnTo>
                  <a:lnTo>
                    <a:pt x="40858" y="57620"/>
                  </a:lnTo>
                  <a:lnTo>
                    <a:pt x="0" y="576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90" name="Freeform: Shape 7189">
              <a:extLst>
                <a:ext uri="{FF2B5EF4-FFF2-40B4-BE49-F238E27FC236}">
                  <a16:creationId xmlns:a16="http://schemas.microsoft.com/office/drawing/2014/main" id="{953E4BEB-DFAE-4D82-AD54-FF06DE927BF2}"/>
                </a:ext>
              </a:extLst>
            </p:cNvPr>
            <p:cNvSpPr/>
            <p:nvPr/>
          </p:nvSpPr>
          <p:spPr>
            <a:xfrm>
              <a:off x="1296768" y="5832129"/>
              <a:ext cx="47144" cy="57620"/>
            </a:xfrm>
            <a:custGeom>
              <a:avLst/>
              <a:gdLst>
                <a:gd name="connsiteX0" fmla="*/ 12048 w 47143"/>
                <a:gd name="connsiteY0" fmla="*/ 18858 h 57620"/>
                <a:gd name="connsiteX1" fmla="*/ 12048 w 47143"/>
                <a:gd name="connsiteY1" fmla="*/ 57620 h 57620"/>
                <a:gd name="connsiteX2" fmla="*/ 0 w 47143"/>
                <a:gd name="connsiteY2" fmla="*/ 57620 h 57620"/>
                <a:gd name="connsiteX3" fmla="*/ 0 w 47143"/>
                <a:gd name="connsiteY3" fmla="*/ 0 h 57620"/>
                <a:gd name="connsiteX4" fmla="*/ 12572 w 47143"/>
                <a:gd name="connsiteY4" fmla="*/ 0 h 57620"/>
                <a:gd name="connsiteX5" fmla="*/ 39286 w 47143"/>
                <a:gd name="connsiteY5" fmla="*/ 37191 h 57620"/>
                <a:gd name="connsiteX6" fmla="*/ 39286 w 47143"/>
                <a:gd name="connsiteY6" fmla="*/ 0 h 57620"/>
                <a:gd name="connsiteX7" fmla="*/ 51334 w 47143"/>
                <a:gd name="connsiteY7" fmla="*/ 0 h 57620"/>
                <a:gd name="connsiteX8" fmla="*/ 51334 w 47143"/>
                <a:gd name="connsiteY8" fmla="*/ 57620 h 57620"/>
                <a:gd name="connsiteX9" fmla="*/ 39810 w 47143"/>
                <a:gd name="connsiteY9" fmla="*/ 57620 h 57620"/>
                <a:gd name="connsiteX10" fmla="*/ 12048 w 47143"/>
                <a:gd name="connsiteY10" fmla="*/ 18858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143" h="57620">
                  <a:moveTo>
                    <a:pt x="12048" y="18858"/>
                  </a:moveTo>
                  <a:lnTo>
                    <a:pt x="12048" y="57620"/>
                  </a:lnTo>
                  <a:lnTo>
                    <a:pt x="0" y="57620"/>
                  </a:lnTo>
                  <a:lnTo>
                    <a:pt x="0" y="0"/>
                  </a:lnTo>
                  <a:lnTo>
                    <a:pt x="12572" y="0"/>
                  </a:lnTo>
                  <a:lnTo>
                    <a:pt x="39286" y="37191"/>
                  </a:lnTo>
                  <a:lnTo>
                    <a:pt x="39286" y="0"/>
                  </a:lnTo>
                  <a:lnTo>
                    <a:pt x="51334" y="0"/>
                  </a:lnTo>
                  <a:lnTo>
                    <a:pt x="51334" y="57620"/>
                  </a:lnTo>
                  <a:lnTo>
                    <a:pt x="39810" y="57620"/>
                  </a:lnTo>
                  <a:lnTo>
                    <a:pt x="12048" y="18858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91" name="Freeform: Shape 7190">
              <a:extLst>
                <a:ext uri="{FF2B5EF4-FFF2-40B4-BE49-F238E27FC236}">
                  <a16:creationId xmlns:a16="http://schemas.microsoft.com/office/drawing/2014/main" id="{0E349222-B9FA-4472-BF76-CCB8F5EF57A0}"/>
                </a:ext>
              </a:extLst>
            </p:cNvPr>
            <p:cNvSpPr/>
            <p:nvPr/>
          </p:nvSpPr>
          <p:spPr>
            <a:xfrm>
              <a:off x="1365388" y="5831606"/>
              <a:ext cx="41906" cy="57620"/>
            </a:xfrm>
            <a:custGeom>
              <a:avLst/>
              <a:gdLst>
                <a:gd name="connsiteX0" fmla="*/ 16762 w 41905"/>
                <a:gd name="connsiteY0" fmla="*/ 11000 h 57620"/>
                <a:gd name="connsiteX1" fmla="*/ 0 w 41905"/>
                <a:gd name="connsiteY1" fmla="*/ 11000 h 57620"/>
                <a:gd name="connsiteX2" fmla="*/ 0 w 41905"/>
                <a:gd name="connsiteY2" fmla="*/ 0 h 57620"/>
                <a:gd name="connsiteX3" fmla="*/ 46096 w 41905"/>
                <a:gd name="connsiteY3" fmla="*/ 0 h 57620"/>
                <a:gd name="connsiteX4" fmla="*/ 46096 w 41905"/>
                <a:gd name="connsiteY4" fmla="*/ 11000 h 57620"/>
                <a:gd name="connsiteX5" fmla="*/ 28810 w 41905"/>
                <a:gd name="connsiteY5" fmla="*/ 11000 h 57620"/>
                <a:gd name="connsiteX6" fmla="*/ 28810 w 41905"/>
                <a:gd name="connsiteY6" fmla="*/ 58144 h 57620"/>
                <a:gd name="connsiteX7" fmla="*/ 16238 w 41905"/>
                <a:gd name="connsiteY7" fmla="*/ 58144 h 57620"/>
                <a:gd name="connsiteX8" fmla="*/ 16238 w 41905"/>
                <a:gd name="connsiteY8" fmla="*/ 11000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905" h="57620">
                  <a:moveTo>
                    <a:pt x="16762" y="11000"/>
                  </a:moveTo>
                  <a:lnTo>
                    <a:pt x="0" y="11000"/>
                  </a:lnTo>
                  <a:lnTo>
                    <a:pt x="0" y="0"/>
                  </a:lnTo>
                  <a:lnTo>
                    <a:pt x="46096" y="0"/>
                  </a:lnTo>
                  <a:lnTo>
                    <a:pt x="46096" y="11000"/>
                  </a:lnTo>
                  <a:lnTo>
                    <a:pt x="28810" y="11000"/>
                  </a:lnTo>
                  <a:lnTo>
                    <a:pt x="28810" y="58144"/>
                  </a:lnTo>
                  <a:lnTo>
                    <a:pt x="16238" y="58144"/>
                  </a:lnTo>
                  <a:lnTo>
                    <a:pt x="16238" y="11000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92" name="Freeform: Shape 7191">
              <a:extLst>
                <a:ext uri="{FF2B5EF4-FFF2-40B4-BE49-F238E27FC236}">
                  <a16:creationId xmlns:a16="http://schemas.microsoft.com/office/drawing/2014/main" id="{F29B53C9-54AB-415B-A1A8-ACB5BAC4335C}"/>
                </a:ext>
              </a:extLst>
            </p:cNvPr>
            <p:cNvSpPr/>
            <p:nvPr/>
          </p:nvSpPr>
          <p:spPr>
            <a:xfrm>
              <a:off x="1458628" y="5831606"/>
              <a:ext cx="47144" cy="57620"/>
            </a:xfrm>
            <a:custGeom>
              <a:avLst/>
              <a:gdLst>
                <a:gd name="connsiteX0" fmla="*/ 0 w 47143"/>
                <a:gd name="connsiteY0" fmla="*/ 0 h 57620"/>
                <a:gd name="connsiteX1" fmla="*/ 30382 w 47143"/>
                <a:gd name="connsiteY1" fmla="*/ 0 h 57620"/>
                <a:gd name="connsiteX2" fmla="*/ 47144 w 47143"/>
                <a:gd name="connsiteY2" fmla="*/ 14667 h 57620"/>
                <a:gd name="connsiteX3" fmla="*/ 37191 w 47143"/>
                <a:gd name="connsiteY3" fmla="*/ 27762 h 57620"/>
                <a:gd name="connsiteX4" fmla="*/ 48191 w 47143"/>
                <a:gd name="connsiteY4" fmla="*/ 41906 h 57620"/>
                <a:gd name="connsiteX5" fmla="*/ 31429 w 47143"/>
                <a:gd name="connsiteY5" fmla="*/ 57620 h 57620"/>
                <a:gd name="connsiteX6" fmla="*/ 0 w 47143"/>
                <a:gd name="connsiteY6" fmla="*/ 57620 h 57620"/>
                <a:gd name="connsiteX7" fmla="*/ 0 w 47143"/>
                <a:gd name="connsiteY7" fmla="*/ 0 h 57620"/>
                <a:gd name="connsiteX8" fmla="*/ 27762 w 47143"/>
                <a:gd name="connsiteY8" fmla="*/ 23572 h 57620"/>
                <a:gd name="connsiteX9" fmla="*/ 34572 w 47143"/>
                <a:gd name="connsiteY9" fmla="*/ 17286 h 57620"/>
                <a:gd name="connsiteX10" fmla="*/ 27762 w 47143"/>
                <a:gd name="connsiteY10" fmla="*/ 11000 h 57620"/>
                <a:gd name="connsiteX11" fmla="*/ 12572 w 47143"/>
                <a:gd name="connsiteY11" fmla="*/ 11000 h 57620"/>
                <a:gd name="connsiteX12" fmla="*/ 12572 w 47143"/>
                <a:gd name="connsiteY12" fmla="*/ 23572 h 57620"/>
                <a:gd name="connsiteX13" fmla="*/ 27762 w 47143"/>
                <a:gd name="connsiteY13" fmla="*/ 23572 h 57620"/>
                <a:gd name="connsiteX14" fmla="*/ 27762 w 47143"/>
                <a:gd name="connsiteY14" fmla="*/ 47668 h 57620"/>
                <a:gd name="connsiteX15" fmla="*/ 35096 w 47143"/>
                <a:gd name="connsiteY15" fmla="*/ 40858 h 57620"/>
                <a:gd name="connsiteX16" fmla="*/ 27762 w 47143"/>
                <a:gd name="connsiteY16" fmla="*/ 34048 h 57620"/>
                <a:gd name="connsiteX17" fmla="*/ 12048 w 47143"/>
                <a:gd name="connsiteY17" fmla="*/ 34048 h 57620"/>
                <a:gd name="connsiteX18" fmla="*/ 12048 w 47143"/>
                <a:gd name="connsiteY18" fmla="*/ 47668 h 57620"/>
                <a:gd name="connsiteX19" fmla="*/ 27762 w 47143"/>
                <a:gd name="connsiteY19" fmla="*/ 47668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7143" h="57620">
                  <a:moveTo>
                    <a:pt x="0" y="0"/>
                  </a:moveTo>
                  <a:lnTo>
                    <a:pt x="30382" y="0"/>
                  </a:lnTo>
                  <a:cubicBezTo>
                    <a:pt x="41382" y="0"/>
                    <a:pt x="47144" y="6810"/>
                    <a:pt x="47144" y="14667"/>
                  </a:cubicBezTo>
                  <a:cubicBezTo>
                    <a:pt x="47144" y="22000"/>
                    <a:pt x="42429" y="26715"/>
                    <a:pt x="37191" y="27762"/>
                  </a:cubicBezTo>
                  <a:cubicBezTo>
                    <a:pt x="43477" y="28810"/>
                    <a:pt x="48191" y="34572"/>
                    <a:pt x="48191" y="41906"/>
                  </a:cubicBezTo>
                  <a:cubicBezTo>
                    <a:pt x="48191" y="50810"/>
                    <a:pt x="42429" y="57620"/>
                    <a:pt x="31429" y="57620"/>
                  </a:cubicBezTo>
                  <a:lnTo>
                    <a:pt x="0" y="57620"/>
                  </a:lnTo>
                  <a:lnTo>
                    <a:pt x="0" y="0"/>
                  </a:lnTo>
                  <a:close/>
                  <a:moveTo>
                    <a:pt x="27762" y="23572"/>
                  </a:moveTo>
                  <a:cubicBezTo>
                    <a:pt x="31953" y="23572"/>
                    <a:pt x="34572" y="20953"/>
                    <a:pt x="34572" y="17286"/>
                  </a:cubicBezTo>
                  <a:cubicBezTo>
                    <a:pt x="34572" y="13619"/>
                    <a:pt x="31953" y="11000"/>
                    <a:pt x="27762" y="11000"/>
                  </a:cubicBezTo>
                  <a:lnTo>
                    <a:pt x="12572" y="11000"/>
                  </a:lnTo>
                  <a:lnTo>
                    <a:pt x="12572" y="23572"/>
                  </a:lnTo>
                  <a:lnTo>
                    <a:pt x="27762" y="23572"/>
                  </a:lnTo>
                  <a:close/>
                  <a:moveTo>
                    <a:pt x="27762" y="47668"/>
                  </a:moveTo>
                  <a:cubicBezTo>
                    <a:pt x="32477" y="47668"/>
                    <a:pt x="35096" y="45048"/>
                    <a:pt x="35096" y="40858"/>
                  </a:cubicBezTo>
                  <a:cubicBezTo>
                    <a:pt x="35096" y="37191"/>
                    <a:pt x="32477" y="34048"/>
                    <a:pt x="27762" y="34048"/>
                  </a:cubicBezTo>
                  <a:lnTo>
                    <a:pt x="12048" y="34048"/>
                  </a:lnTo>
                  <a:lnTo>
                    <a:pt x="12048" y="47668"/>
                  </a:lnTo>
                  <a:lnTo>
                    <a:pt x="27762" y="47668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93" name="Freeform: Shape 7192">
              <a:extLst>
                <a:ext uri="{FF2B5EF4-FFF2-40B4-BE49-F238E27FC236}">
                  <a16:creationId xmlns:a16="http://schemas.microsoft.com/office/drawing/2014/main" id="{FE5057AC-A037-4BF5-868E-C3EB9755B69A}"/>
                </a:ext>
              </a:extLst>
            </p:cNvPr>
            <p:cNvSpPr/>
            <p:nvPr/>
          </p:nvSpPr>
          <p:spPr>
            <a:xfrm>
              <a:off x="1518344" y="5832129"/>
              <a:ext cx="57620" cy="57620"/>
            </a:xfrm>
            <a:custGeom>
              <a:avLst/>
              <a:gdLst>
                <a:gd name="connsiteX0" fmla="*/ 42953 w 57620"/>
                <a:gd name="connsiteY0" fmla="*/ 47668 h 57620"/>
                <a:gd name="connsiteX1" fmla="*/ 17286 w 57620"/>
                <a:gd name="connsiteY1" fmla="*/ 47668 h 57620"/>
                <a:gd name="connsiteX2" fmla="*/ 13619 w 57620"/>
                <a:gd name="connsiteY2" fmla="*/ 57620 h 57620"/>
                <a:gd name="connsiteX3" fmla="*/ 0 w 57620"/>
                <a:gd name="connsiteY3" fmla="*/ 57620 h 57620"/>
                <a:gd name="connsiteX4" fmla="*/ 22524 w 57620"/>
                <a:gd name="connsiteY4" fmla="*/ 0 h 57620"/>
                <a:gd name="connsiteX5" fmla="*/ 37715 w 57620"/>
                <a:gd name="connsiteY5" fmla="*/ 0 h 57620"/>
                <a:gd name="connsiteX6" fmla="*/ 60239 w 57620"/>
                <a:gd name="connsiteY6" fmla="*/ 57620 h 57620"/>
                <a:gd name="connsiteX7" fmla="*/ 46620 w 57620"/>
                <a:gd name="connsiteY7" fmla="*/ 57620 h 57620"/>
                <a:gd name="connsiteX8" fmla="*/ 42953 w 57620"/>
                <a:gd name="connsiteY8" fmla="*/ 47668 h 57620"/>
                <a:gd name="connsiteX9" fmla="*/ 20429 w 57620"/>
                <a:gd name="connsiteY9" fmla="*/ 36667 h 57620"/>
                <a:gd name="connsiteX10" fmla="*/ 39810 w 57620"/>
                <a:gd name="connsiteY10" fmla="*/ 36667 h 57620"/>
                <a:gd name="connsiteX11" fmla="*/ 30382 w 57620"/>
                <a:gd name="connsiteY11" fmla="*/ 9953 h 57620"/>
                <a:gd name="connsiteX12" fmla="*/ 20429 w 57620"/>
                <a:gd name="connsiteY12" fmla="*/ 36667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620" h="57620">
                  <a:moveTo>
                    <a:pt x="42953" y="47668"/>
                  </a:moveTo>
                  <a:lnTo>
                    <a:pt x="17286" y="47668"/>
                  </a:lnTo>
                  <a:lnTo>
                    <a:pt x="13619" y="57620"/>
                  </a:lnTo>
                  <a:lnTo>
                    <a:pt x="0" y="57620"/>
                  </a:lnTo>
                  <a:lnTo>
                    <a:pt x="22524" y="0"/>
                  </a:lnTo>
                  <a:lnTo>
                    <a:pt x="37715" y="0"/>
                  </a:lnTo>
                  <a:lnTo>
                    <a:pt x="60239" y="57620"/>
                  </a:lnTo>
                  <a:lnTo>
                    <a:pt x="46620" y="57620"/>
                  </a:lnTo>
                  <a:lnTo>
                    <a:pt x="42953" y="47668"/>
                  </a:lnTo>
                  <a:close/>
                  <a:moveTo>
                    <a:pt x="20429" y="36667"/>
                  </a:moveTo>
                  <a:lnTo>
                    <a:pt x="39810" y="36667"/>
                  </a:lnTo>
                  <a:lnTo>
                    <a:pt x="30382" y="9953"/>
                  </a:lnTo>
                  <a:lnTo>
                    <a:pt x="20429" y="36667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94" name="Freeform: Shape 7193">
              <a:extLst>
                <a:ext uri="{FF2B5EF4-FFF2-40B4-BE49-F238E27FC236}">
                  <a16:creationId xmlns:a16="http://schemas.microsoft.com/office/drawing/2014/main" id="{4BB67DCD-048F-4E5F-AC72-78DA8CC89D5E}"/>
                </a:ext>
              </a:extLst>
            </p:cNvPr>
            <p:cNvSpPr/>
            <p:nvPr/>
          </p:nvSpPr>
          <p:spPr>
            <a:xfrm>
              <a:off x="1592726" y="5832129"/>
              <a:ext cx="47144" cy="57620"/>
            </a:xfrm>
            <a:custGeom>
              <a:avLst/>
              <a:gdLst>
                <a:gd name="connsiteX0" fmla="*/ 12048 w 47143"/>
                <a:gd name="connsiteY0" fmla="*/ 18858 h 57620"/>
                <a:gd name="connsiteX1" fmla="*/ 12048 w 47143"/>
                <a:gd name="connsiteY1" fmla="*/ 57620 h 57620"/>
                <a:gd name="connsiteX2" fmla="*/ 0 w 47143"/>
                <a:gd name="connsiteY2" fmla="*/ 57620 h 57620"/>
                <a:gd name="connsiteX3" fmla="*/ 0 w 47143"/>
                <a:gd name="connsiteY3" fmla="*/ 0 h 57620"/>
                <a:gd name="connsiteX4" fmla="*/ 12572 w 47143"/>
                <a:gd name="connsiteY4" fmla="*/ 0 h 57620"/>
                <a:gd name="connsiteX5" fmla="*/ 39286 w 47143"/>
                <a:gd name="connsiteY5" fmla="*/ 37191 h 57620"/>
                <a:gd name="connsiteX6" fmla="*/ 39286 w 47143"/>
                <a:gd name="connsiteY6" fmla="*/ 0 h 57620"/>
                <a:gd name="connsiteX7" fmla="*/ 51334 w 47143"/>
                <a:gd name="connsiteY7" fmla="*/ 0 h 57620"/>
                <a:gd name="connsiteX8" fmla="*/ 51334 w 47143"/>
                <a:gd name="connsiteY8" fmla="*/ 57620 h 57620"/>
                <a:gd name="connsiteX9" fmla="*/ 39286 w 47143"/>
                <a:gd name="connsiteY9" fmla="*/ 57620 h 57620"/>
                <a:gd name="connsiteX10" fmla="*/ 12048 w 47143"/>
                <a:gd name="connsiteY10" fmla="*/ 18858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143" h="57620">
                  <a:moveTo>
                    <a:pt x="12048" y="18858"/>
                  </a:moveTo>
                  <a:lnTo>
                    <a:pt x="12048" y="57620"/>
                  </a:lnTo>
                  <a:lnTo>
                    <a:pt x="0" y="57620"/>
                  </a:lnTo>
                  <a:lnTo>
                    <a:pt x="0" y="0"/>
                  </a:lnTo>
                  <a:lnTo>
                    <a:pt x="12572" y="0"/>
                  </a:lnTo>
                  <a:lnTo>
                    <a:pt x="39286" y="37191"/>
                  </a:lnTo>
                  <a:lnTo>
                    <a:pt x="39286" y="0"/>
                  </a:lnTo>
                  <a:lnTo>
                    <a:pt x="51334" y="0"/>
                  </a:lnTo>
                  <a:lnTo>
                    <a:pt x="51334" y="57620"/>
                  </a:lnTo>
                  <a:lnTo>
                    <a:pt x="39286" y="57620"/>
                  </a:lnTo>
                  <a:lnTo>
                    <a:pt x="12048" y="18858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95" name="Freeform: Shape 7194">
              <a:extLst>
                <a:ext uri="{FF2B5EF4-FFF2-40B4-BE49-F238E27FC236}">
                  <a16:creationId xmlns:a16="http://schemas.microsoft.com/office/drawing/2014/main" id="{671A232B-A7E4-4D3B-BC72-473CE3488EA0}"/>
                </a:ext>
              </a:extLst>
            </p:cNvPr>
            <p:cNvSpPr/>
            <p:nvPr/>
          </p:nvSpPr>
          <p:spPr>
            <a:xfrm>
              <a:off x="1663966" y="5832129"/>
              <a:ext cx="47144" cy="57620"/>
            </a:xfrm>
            <a:custGeom>
              <a:avLst/>
              <a:gdLst>
                <a:gd name="connsiteX0" fmla="*/ 16762 w 47143"/>
                <a:gd name="connsiteY0" fmla="*/ 34572 h 57620"/>
                <a:gd name="connsiteX1" fmla="*/ 12048 w 47143"/>
                <a:gd name="connsiteY1" fmla="*/ 39810 h 57620"/>
                <a:gd name="connsiteX2" fmla="*/ 12048 w 47143"/>
                <a:gd name="connsiteY2" fmla="*/ 57620 h 57620"/>
                <a:gd name="connsiteX3" fmla="*/ 0 w 47143"/>
                <a:gd name="connsiteY3" fmla="*/ 57620 h 57620"/>
                <a:gd name="connsiteX4" fmla="*/ 0 w 47143"/>
                <a:gd name="connsiteY4" fmla="*/ 0 h 57620"/>
                <a:gd name="connsiteX5" fmla="*/ 12048 w 47143"/>
                <a:gd name="connsiteY5" fmla="*/ 0 h 57620"/>
                <a:gd name="connsiteX6" fmla="*/ 12048 w 47143"/>
                <a:gd name="connsiteY6" fmla="*/ 25667 h 57620"/>
                <a:gd name="connsiteX7" fmla="*/ 32477 w 47143"/>
                <a:gd name="connsiteY7" fmla="*/ 0 h 57620"/>
                <a:gd name="connsiteX8" fmla="*/ 47668 w 47143"/>
                <a:gd name="connsiteY8" fmla="*/ 0 h 57620"/>
                <a:gd name="connsiteX9" fmla="*/ 24620 w 47143"/>
                <a:gd name="connsiteY9" fmla="*/ 27239 h 57620"/>
                <a:gd name="connsiteX10" fmla="*/ 49239 w 47143"/>
                <a:gd name="connsiteY10" fmla="*/ 58144 h 57620"/>
                <a:gd name="connsiteX11" fmla="*/ 34048 w 47143"/>
                <a:gd name="connsiteY11" fmla="*/ 58144 h 57620"/>
                <a:gd name="connsiteX12" fmla="*/ 16762 w 47143"/>
                <a:gd name="connsiteY12" fmla="*/ 34572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143" h="57620">
                  <a:moveTo>
                    <a:pt x="16762" y="34572"/>
                  </a:moveTo>
                  <a:lnTo>
                    <a:pt x="12048" y="39810"/>
                  </a:lnTo>
                  <a:lnTo>
                    <a:pt x="12048" y="57620"/>
                  </a:lnTo>
                  <a:lnTo>
                    <a:pt x="0" y="57620"/>
                  </a:lnTo>
                  <a:lnTo>
                    <a:pt x="0" y="0"/>
                  </a:lnTo>
                  <a:lnTo>
                    <a:pt x="12048" y="0"/>
                  </a:lnTo>
                  <a:lnTo>
                    <a:pt x="12048" y="25667"/>
                  </a:lnTo>
                  <a:lnTo>
                    <a:pt x="32477" y="0"/>
                  </a:lnTo>
                  <a:lnTo>
                    <a:pt x="47668" y="0"/>
                  </a:lnTo>
                  <a:lnTo>
                    <a:pt x="24620" y="27239"/>
                  </a:lnTo>
                  <a:lnTo>
                    <a:pt x="49239" y="58144"/>
                  </a:lnTo>
                  <a:lnTo>
                    <a:pt x="34048" y="58144"/>
                  </a:lnTo>
                  <a:lnTo>
                    <a:pt x="16762" y="34572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96" name="Freeform: Shape 7195">
              <a:extLst>
                <a:ext uri="{FF2B5EF4-FFF2-40B4-BE49-F238E27FC236}">
                  <a16:creationId xmlns:a16="http://schemas.microsoft.com/office/drawing/2014/main" id="{3CDF4087-01E8-4AB1-9047-8BA7EC037159}"/>
                </a:ext>
              </a:extLst>
            </p:cNvPr>
            <p:cNvSpPr/>
            <p:nvPr/>
          </p:nvSpPr>
          <p:spPr>
            <a:xfrm>
              <a:off x="1755634" y="5831082"/>
              <a:ext cx="57620" cy="57620"/>
            </a:xfrm>
            <a:custGeom>
              <a:avLst/>
              <a:gdLst>
                <a:gd name="connsiteX0" fmla="*/ 30382 w 57620"/>
                <a:gd name="connsiteY0" fmla="*/ 0 h 57620"/>
                <a:gd name="connsiteX1" fmla="*/ 60763 w 57620"/>
                <a:gd name="connsiteY1" fmla="*/ 29858 h 57620"/>
                <a:gd name="connsiteX2" fmla="*/ 30382 w 57620"/>
                <a:gd name="connsiteY2" fmla="*/ 59715 h 57620"/>
                <a:gd name="connsiteX3" fmla="*/ 0 w 57620"/>
                <a:gd name="connsiteY3" fmla="*/ 29858 h 57620"/>
                <a:gd name="connsiteX4" fmla="*/ 30382 w 57620"/>
                <a:gd name="connsiteY4" fmla="*/ 0 h 57620"/>
                <a:gd name="connsiteX5" fmla="*/ 30382 w 57620"/>
                <a:gd name="connsiteY5" fmla="*/ 10476 h 57620"/>
                <a:gd name="connsiteX6" fmla="*/ 13095 w 57620"/>
                <a:gd name="connsiteY6" fmla="*/ 29334 h 57620"/>
                <a:gd name="connsiteX7" fmla="*/ 30382 w 57620"/>
                <a:gd name="connsiteY7" fmla="*/ 48191 h 57620"/>
                <a:gd name="connsiteX8" fmla="*/ 48191 w 57620"/>
                <a:gd name="connsiteY8" fmla="*/ 29334 h 57620"/>
                <a:gd name="connsiteX9" fmla="*/ 30382 w 57620"/>
                <a:gd name="connsiteY9" fmla="*/ 10476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620" h="57620">
                  <a:moveTo>
                    <a:pt x="30382" y="0"/>
                  </a:moveTo>
                  <a:cubicBezTo>
                    <a:pt x="47668" y="0"/>
                    <a:pt x="60763" y="12572"/>
                    <a:pt x="60763" y="29858"/>
                  </a:cubicBezTo>
                  <a:cubicBezTo>
                    <a:pt x="60763" y="47144"/>
                    <a:pt x="48191" y="59715"/>
                    <a:pt x="30382" y="59715"/>
                  </a:cubicBezTo>
                  <a:cubicBezTo>
                    <a:pt x="13095" y="59715"/>
                    <a:pt x="0" y="47144"/>
                    <a:pt x="0" y="29858"/>
                  </a:cubicBezTo>
                  <a:cubicBezTo>
                    <a:pt x="524" y="12048"/>
                    <a:pt x="13095" y="0"/>
                    <a:pt x="30382" y="0"/>
                  </a:cubicBezTo>
                  <a:close/>
                  <a:moveTo>
                    <a:pt x="30382" y="10476"/>
                  </a:moveTo>
                  <a:cubicBezTo>
                    <a:pt x="19905" y="10476"/>
                    <a:pt x="13095" y="18858"/>
                    <a:pt x="13095" y="29334"/>
                  </a:cubicBezTo>
                  <a:cubicBezTo>
                    <a:pt x="13095" y="40334"/>
                    <a:pt x="19905" y="48191"/>
                    <a:pt x="30382" y="48191"/>
                  </a:cubicBezTo>
                  <a:cubicBezTo>
                    <a:pt x="40858" y="48191"/>
                    <a:pt x="48191" y="39810"/>
                    <a:pt x="48191" y="29334"/>
                  </a:cubicBezTo>
                  <a:cubicBezTo>
                    <a:pt x="48191" y="18858"/>
                    <a:pt x="40858" y="10476"/>
                    <a:pt x="30382" y="10476"/>
                  </a:cubicBez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97" name="Freeform: Shape 7196">
              <a:extLst>
                <a:ext uri="{FF2B5EF4-FFF2-40B4-BE49-F238E27FC236}">
                  <a16:creationId xmlns:a16="http://schemas.microsoft.com/office/drawing/2014/main" id="{AA79A1D0-C9F7-4914-B88F-BEF49BBA3FC3}"/>
                </a:ext>
              </a:extLst>
            </p:cNvPr>
            <p:cNvSpPr/>
            <p:nvPr/>
          </p:nvSpPr>
          <p:spPr>
            <a:xfrm>
              <a:off x="1833683" y="5831606"/>
              <a:ext cx="36667" cy="57620"/>
            </a:xfrm>
            <a:custGeom>
              <a:avLst/>
              <a:gdLst>
                <a:gd name="connsiteX0" fmla="*/ 0 w 36667"/>
                <a:gd name="connsiteY0" fmla="*/ 0 h 57620"/>
                <a:gd name="connsiteX1" fmla="*/ 40858 w 36667"/>
                <a:gd name="connsiteY1" fmla="*/ 0 h 57620"/>
                <a:gd name="connsiteX2" fmla="*/ 40858 w 36667"/>
                <a:gd name="connsiteY2" fmla="*/ 10476 h 57620"/>
                <a:gd name="connsiteX3" fmla="*/ 12048 w 36667"/>
                <a:gd name="connsiteY3" fmla="*/ 10476 h 57620"/>
                <a:gd name="connsiteX4" fmla="*/ 12048 w 36667"/>
                <a:gd name="connsiteY4" fmla="*/ 23048 h 57620"/>
                <a:gd name="connsiteX5" fmla="*/ 39810 w 36667"/>
                <a:gd name="connsiteY5" fmla="*/ 23048 h 57620"/>
                <a:gd name="connsiteX6" fmla="*/ 39810 w 36667"/>
                <a:gd name="connsiteY6" fmla="*/ 33524 h 57620"/>
                <a:gd name="connsiteX7" fmla="*/ 12048 w 36667"/>
                <a:gd name="connsiteY7" fmla="*/ 33524 h 57620"/>
                <a:gd name="connsiteX8" fmla="*/ 12048 w 36667"/>
                <a:gd name="connsiteY8" fmla="*/ 57620 h 57620"/>
                <a:gd name="connsiteX9" fmla="*/ 0 w 36667"/>
                <a:gd name="connsiteY9" fmla="*/ 57620 h 57620"/>
                <a:gd name="connsiteX10" fmla="*/ 0 w 36667"/>
                <a:gd name="connsiteY10" fmla="*/ 0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667" h="57620">
                  <a:moveTo>
                    <a:pt x="0" y="0"/>
                  </a:moveTo>
                  <a:lnTo>
                    <a:pt x="40858" y="0"/>
                  </a:lnTo>
                  <a:lnTo>
                    <a:pt x="40858" y="10476"/>
                  </a:lnTo>
                  <a:lnTo>
                    <a:pt x="12048" y="10476"/>
                  </a:lnTo>
                  <a:lnTo>
                    <a:pt x="12048" y="23048"/>
                  </a:lnTo>
                  <a:lnTo>
                    <a:pt x="39810" y="23048"/>
                  </a:lnTo>
                  <a:lnTo>
                    <a:pt x="39810" y="33524"/>
                  </a:lnTo>
                  <a:lnTo>
                    <a:pt x="12048" y="33524"/>
                  </a:lnTo>
                  <a:lnTo>
                    <a:pt x="12048" y="57620"/>
                  </a:lnTo>
                  <a:lnTo>
                    <a:pt x="0" y="576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98" name="Freeform: Shape 7197">
              <a:extLst>
                <a:ext uri="{FF2B5EF4-FFF2-40B4-BE49-F238E27FC236}">
                  <a16:creationId xmlns:a16="http://schemas.microsoft.com/office/drawing/2014/main" id="{BAD7E4B8-9DFE-42DB-A337-8AD0070FDDDC}"/>
                </a:ext>
              </a:extLst>
            </p:cNvPr>
            <p:cNvSpPr/>
            <p:nvPr/>
          </p:nvSpPr>
          <p:spPr>
            <a:xfrm>
              <a:off x="1918542" y="5831082"/>
              <a:ext cx="47144" cy="57620"/>
            </a:xfrm>
            <a:custGeom>
              <a:avLst/>
              <a:gdLst>
                <a:gd name="connsiteX0" fmla="*/ 6810 w 47143"/>
                <a:gd name="connsiteY0" fmla="*/ 40858 h 57620"/>
                <a:gd name="connsiteX1" fmla="*/ 25143 w 47143"/>
                <a:gd name="connsiteY1" fmla="*/ 48715 h 57620"/>
                <a:gd name="connsiteX2" fmla="*/ 35096 w 47143"/>
                <a:gd name="connsiteY2" fmla="*/ 42429 h 57620"/>
                <a:gd name="connsiteX3" fmla="*/ 23572 w 47143"/>
                <a:gd name="connsiteY3" fmla="*/ 35096 h 57620"/>
                <a:gd name="connsiteX4" fmla="*/ 2095 w 47143"/>
                <a:gd name="connsiteY4" fmla="*/ 17286 h 57620"/>
                <a:gd name="connsiteX5" fmla="*/ 24096 w 47143"/>
                <a:gd name="connsiteY5" fmla="*/ 0 h 57620"/>
                <a:gd name="connsiteX6" fmla="*/ 46620 w 47143"/>
                <a:gd name="connsiteY6" fmla="*/ 7857 h 57620"/>
                <a:gd name="connsiteX7" fmla="*/ 39810 w 47143"/>
                <a:gd name="connsiteY7" fmla="*/ 16762 h 57620"/>
                <a:gd name="connsiteX8" fmla="*/ 23048 w 47143"/>
                <a:gd name="connsiteY8" fmla="*/ 10476 h 57620"/>
                <a:gd name="connsiteX9" fmla="*/ 14667 w 47143"/>
                <a:gd name="connsiteY9" fmla="*/ 16238 h 57620"/>
                <a:gd name="connsiteX10" fmla="*/ 26191 w 47143"/>
                <a:gd name="connsiteY10" fmla="*/ 23048 h 57620"/>
                <a:gd name="connsiteX11" fmla="*/ 47668 w 47143"/>
                <a:gd name="connsiteY11" fmla="*/ 40858 h 57620"/>
                <a:gd name="connsiteX12" fmla="*/ 24620 w 47143"/>
                <a:gd name="connsiteY12" fmla="*/ 59192 h 57620"/>
                <a:gd name="connsiteX13" fmla="*/ 0 w 47143"/>
                <a:gd name="connsiteY13" fmla="*/ 49763 h 57620"/>
                <a:gd name="connsiteX14" fmla="*/ 6810 w 47143"/>
                <a:gd name="connsiteY14" fmla="*/ 40858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7143" h="57620">
                  <a:moveTo>
                    <a:pt x="6810" y="40858"/>
                  </a:moveTo>
                  <a:cubicBezTo>
                    <a:pt x="11000" y="45048"/>
                    <a:pt x="17286" y="48715"/>
                    <a:pt x="25143" y="48715"/>
                  </a:cubicBezTo>
                  <a:cubicBezTo>
                    <a:pt x="31953" y="48715"/>
                    <a:pt x="35096" y="45572"/>
                    <a:pt x="35096" y="42429"/>
                  </a:cubicBezTo>
                  <a:cubicBezTo>
                    <a:pt x="35096" y="38239"/>
                    <a:pt x="29858" y="36667"/>
                    <a:pt x="23572" y="35096"/>
                  </a:cubicBezTo>
                  <a:cubicBezTo>
                    <a:pt x="14143" y="33001"/>
                    <a:pt x="2095" y="30382"/>
                    <a:pt x="2095" y="17286"/>
                  </a:cubicBezTo>
                  <a:cubicBezTo>
                    <a:pt x="2095" y="7857"/>
                    <a:pt x="10476" y="0"/>
                    <a:pt x="24096" y="0"/>
                  </a:cubicBezTo>
                  <a:cubicBezTo>
                    <a:pt x="33524" y="0"/>
                    <a:pt x="40858" y="2619"/>
                    <a:pt x="46620" y="7857"/>
                  </a:cubicBezTo>
                  <a:lnTo>
                    <a:pt x="39810" y="16762"/>
                  </a:lnTo>
                  <a:cubicBezTo>
                    <a:pt x="35096" y="12572"/>
                    <a:pt x="28810" y="10476"/>
                    <a:pt x="23048" y="10476"/>
                  </a:cubicBezTo>
                  <a:cubicBezTo>
                    <a:pt x="17286" y="10476"/>
                    <a:pt x="14667" y="13095"/>
                    <a:pt x="14667" y="16238"/>
                  </a:cubicBezTo>
                  <a:cubicBezTo>
                    <a:pt x="14667" y="19905"/>
                    <a:pt x="19381" y="21477"/>
                    <a:pt x="26191" y="23048"/>
                  </a:cubicBezTo>
                  <a:cubicBezTo>
                    <a:pt x="35620" y="25143"/>
                    <a:pt x="47668" y="28286"/>
                    <a:pt x="47668" y="40858"/>
                  </a:cubicBezTo>
                  <a:cubicBezTo>
                    <a:pt x="47668" y="51334"/>
                    <a:pt x="40334" y="59192"/>
                    <a:pt x="24620" y="59192"/>
                  </a:cubicBezTo>
                  <a:cubicBezTo>
                    <a:pt x="13619" y="59192"/>
                    <a:pt x="5762" y="55525"/>
                    <a:pt x="0" y="49763"/>
                  </a:cubicBezTo>
                  <a:lnTo>
                    <a:pt x="6810" y="40858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199" name="Freeform: Shape 7198">
              <a:extLst>
                <a:ext uri="{FF2B5EF4-FFF2-40B4-BE49-F238E27FC236}">
                  <a16:creationId xmlns:a16="http://schemas.microsoft.com/office/drawing/2014/main" id="{659A10D5-0945-4B17-A7D3-213199C5E69A}"/>
                </a:ext>
              </a:extLst>
            </p:cNvPr>
            <p:cNvSpPr/>
            <p:nvPr/>
          </p:nvSpPr>
          <p:spPr>
            <a:xfrm>
              <a:off x="1980353" y="5831082"/>
              <a:ext cx="57620" cy="57620"/>
            </a:xfrm>
            <a:custGeom>
              <a:avLst/>
              <a:gdLst>
                <a:gd name="connsiteX0" fmla="*/ 30382 w 57620"/>
                <a:gd name="connsiteY0" fmla="*/ 0 h 57620"/>
                <a:gd name="connsiteX1" fmla="*/ 60763 w 57620"/>
                <a:gd name="connsiteY1" fmla="*/ 29858 h 57620"/>
                <a:gd name="connsiteX2" fmla="*/ 30382 w 57620"/>
                <a:gd name="connsiteY2" fmla="*/ 59715 h 57620"/>
                <a:gd name="connsiteX3" fmla="*/ 0 w 57620"/>
                <a:gd name="connsiteY3" fmla="*/ 29858 h 57620"/>
                <a:gd name="connsiteX4" fmla="*/ 30382 w 57620"/>
                <a:gd name="connsiteY4" fmla="*/ 0 h 57620"/>
                <a:gd name="connsiteX5" fmla="*/ 30382 w 57620"/>
                <a:gd name="connsiteY5" fmla="*/ 10476 h 57620"/>
                <a:gd name="connsiteX6" fmla="*/ 13095 w 57620"/>
                <a:gd name="connsiteY6" fmla="*/ 29334 h 57620"/>
                <a:gd name="connsiteX7" fmla="*/ 30382 w 57620"/>
                <a:gd name="connsiteY7" fmla="*/ 48191 h 57620"/>
                <a:gd name="connsiteX8" fmla="*/ 48191 w 57620"/>
                <a:gd name="connsiteY8" fmla="*/ 29334 h 57620"/>
                <a:gd name="connsiteX9" fmla="*/ 30382 w 57620"/>
                <a:gd name="connsiteY9" fmla="*/ 10476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620" h="57620">
                  <a:moveTo>
                    <a:pt x="30382" y="0"/>
                  </a:moveTo>
                  <a:cubicBezTo>
                    <a:pt x="47668" y="0"/>
                    <a:pt x="60763" y="12572"/>
                    <a:pt x="60763" y="29858"/>
                  </a:cubicBezTo>
                  <a:cubicBezTo>
                    <a:pt x="60763" y="47144"/>
                    <a:pt x="48191" y="59715"/>
                    <a:pt x="30382" y="59715"/>
                  </a:cubicBezTo>
                  <a:cubicBezTo>
                    <a:pt x="13095" y="59715"/>
                    <a:pt x="0" y="47144"/>
                    <a:pt x="0" y="29858"/>
                  </a:cubicBezTo>
                  <a:cubicBezTo>
                    <a:pt x="0" y="12048"/>
                    <a:pt x="12572" y="0"/>
                    <a:pt x="30382" y="0"/>
                  </a:cubicBezTo>
                  <a:close/>
                  <a:moveTo>
                    <a:pt x="30382" y="10476"/>
                  </a:moveTo>
                  <a:cubicBezTo>
                    <a:pt x="19905" y="10476"/>
                    <a:pt x="13095" y="18858"/>
                    <a:pt x="13095" y="29334"/>
                  </a:cubicBezTo>
                  <a:cubicBezTo>
                    <a:pt x="13095" y="40334"/>
                    <a:pt x="19905" y="48191"/>
                    <a:pt x="30382" y="48191"/>
                  </a:cubicBezTo>
                  <a:cubicBezTo>
                    <a:pt x="40858" y="48191"/>
                    <a:pt x="48191" y="39810"/>
                    <a:pt x="48191" y="29334"/>
                  </a:cubicBezTo>
                  <a:cubicBezTo>
                    <a:pt x="47668" y="18858"/>
                    <a:pt x="40858" y="10476"/>
                    <a:pt x="30382" y="10476"/>
                  </a:cubicBez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200" name="Freeform: Shape 7199">
              <a:extLst>
                <a:ext uri="{FF2B5EF4-FFF2-40B4-BE49-F238E27FC236}">
                  <a16:creationId xmlns:a16="http://schemas.microsoft.com/office/drawing/2014/main" id="{70E60669-E856-4BE8-907F-0EB900CED316}"/>
                </a:ext>
              </a:extLst>
            </p:cNvPr>
            <p:cNvSpPr/>
            <p:nvPr/>
          </p:nvSpPr>
          <p:spPr>
            <a:xfrm>
              <a:off x="2057878" y="5831606"/>
              <a:ext cx="47144" cy="57620"/>
            </a:xfrm>
            <a:custGeom>
              <a:avLst/>
              <a:gdLst>
                <a:gd name="connsiteX0" fmla="*/ 0 w 47143"/>
                <a:gd name="connsiteY0" fmla="*/ 0 h 57620"/>
                <a:gd name="connsiteX1" fmla="*/ 12572 w 47143"/>
                <a:gd name="connsiteY1" fmla="*/ 0 h 57620"/>
                <a:gd name="connsiteX2" fmla="*/ 12572 w 47143"/>
                <a:gd name="connsiteY2" fmla="*/ 34048 h 57620"/>
                <a:gd name="connsiteX3" fmla="*/ 26191 w 47143"/>
                <a:gd name="connsiteY3" fmla="*/ 47668 h 57620"/>
                <a:gd name="connsiteX4" fmla="*/ 39286 w 47143"/>
                <a:gd name="connsiteY4" fmla="*/ 34048 h 57620"/>
                <a:gd name="connsiteX5" fmla="*/ 39286 w 47143"/>
                <a:gd name="connsiteY5" fmla="*/ 0 h 57620"/>
                <a:gd name="connsiteX6" fmla="*/ 51858 w 47143"/>
                <a:gd name="connsiteY6" fmla="*/ 0 h 57620"/>
                <a:gd name="connsiteX7" fmla="*/ 51858 w 47143"/>
                <a:gd name="connsiteY7" fmla="*/ 34572 h 57620"/>
                <a:gd name="connsiteX8" fmla="*/ 26191 w 47143"/>
                <a:gd name="connsiteY8" fmla="*/ 58668 h 57620"/>
                <a:gd name="connsiteX9" fmla="*/ 524 w 47143"/>
                <a:gd name="connsiteY9" fmla="*/ 34572 h 57620"/>
                <a:gd name="connsiteX10" fmla="*/ 524 w 47143"/>
                <a:gd name="connsiteY10" fmla="*/ 0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143" h="57620">
                  <a:moveTo>
                    <a:pt x="0" y="0"/>
                  </a:moveTo>
                  <a:lnTo>
                    <a:pt x="12572" y="0"/>
                  </a:lnTo>
                  <a:lnTo>
                    <a:pt x="12572" y="34048"/>
                  </a:lnTo>
                  <a:cubicBezTo>
                    <a:pt x="12572" y="41906"/>
                    <a:pt x="16762" y="47668"/>
                    <a:pt x="26191" y="47668"/>
                  </a:cubicBezTo>
                  <a:cubicBezTo>
                    <a:pt x="35096" y="47668"/>
                    <a:pt x="39286" y="41906"/>
                    <a:pt x="39286" y="34048"/>
                  </a:cubicBezTo>
                  <a:lnTo>
                    <a:pt x="39286" y="0"/>
                  </a:lnTo>
                  <a:lnTo>
                    <a:pt x="51858" y="0"/>
                  </a:lnTo>
                  <a:lnTo>
                    <a:pt x="51858" y="34572"/>
                  </a:lnTo>
                  <a:cubicBezTo>
                    <a:pt x="51858" y="48715"/>
                    <a:pt x="43477" y="58668"/>
                    <a:pt x="26191" y="58668"/>
                  </a:cubicBezTo>
                  <a:cubicBezTo>
                    <a:pt x="8381" y="58668"/>
                    <a:pt x="524" y="48715"/>
                    <a:pt x="524" y="34572"/>
                  </a:cubicBezTo>
                  <a:lnTo>
                    <a:pt x="524" y="0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201" name="Freeform: Shape 7200">
              <a:extLst>
                <a:ext uri="{FF2B5EF4-FFF2-40B4-BE49-F238E27FC236}">
                  <a16:creationId xmlns:a16="http://schemas.microsoft.com/office/drawing/2014/main" id="{11AC79B3-C525-4B81-BED5-8E42CF4FBE7A}"/>
                </a:ext>
              </a:extLst>
            </p:cNvPr>
            <p:cNvSpPr/>
            <p:nvPr/>
          </p:nvSpPr>
          <p:spPr>
            <a:xfrm>
              <a:off x="2126498" y="5831606"/>
              <a:ext cx="41906" cy="57620"/>
            </a:xfrm>
            <a:custGeom>
              <a:avLst/>
              <a:gdLst>
                <a:gd name="connsiteX0" fmla="*/ 16762 w 41905"/>
                <a:gd name="connsiteY0" fmla="*/ 11000 h 57620"/>
                <a:gd name="connsiteX1" fmla="*/ 0 w 41905"/>
                <a:gd name="connsiteY1" fmla="*/ 11000 h 57620"/>
                <a:gd name="connsiteX2" fmla="*/ 0 w 41905"/>
                <a:gd name="connsiteY2" fmla="*/ 0 h 57620"/>
                <a:gd name="connsiteX3" fmla="*/ 46096 w 41905"/>
                <a:gd name="connsiteY3" fmla="*/ 0 h 57620"/>
                <a:gd name="connsiteX4" fmla="*/ 46096 w 41905"/>
                <a:gd name="connsiteY4" fmla="*/ 11000 h 57620"/>
                <a:gd name="connsiteX5" fmla="*/ 29334 w 41905"/>
                <a:gd name="connsiteY5" fmla="*/ 11000 h 57620"/>
                <a:gd name="connsiteX6" fmla="*/ 29334 w 41905"/>
                <a:gd name="connsiteY6" fmla="*/ 58144 h 57620"/>
                <a:gd name="connsiteX7" fmla="*/ 16762 w 41905"/>
                <a:gd name="connsiteY7" fmla="*/ 58144 h 57620"/>
                <a:gd name="connsiteX8" fmla="*/ 16762 w 41905"/>
                <a:gd name="connsiteY8" fmla="*/ 11000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1905" h="57620">
                  <a:moveTo>
                    <a:pt x="16762" y="11000"/>
                  </a:moveTo>
                  <a:lnTo>
                    <a:pt x="0" y="11000"/>
                  </a:lnTo>
                  <a:lnTo>
                    <a:pt x="0" y="0"/>
                  </a:lnTo>
                  <a:lnTo>
                    <a:pt x="46096" y="0"/>
                  </a:lnTo>
                  <a:lnTo>
                    <a:pt x="46096" y="11000"/>
                  </a:lnTo>
                  <a:lnTo>
                    <a:pt x="29334" y="11000"/>
                  </a:lnTo>
                  <a:lnTo>
                    <a:pt x="29334" y="58144"/>
                  </a:lnTo>
                  <a:lnTo>
                    <a:pt x="16762" y="58144"/>
                  </a:lnTo>
                  <a:lnTo>
                    <a:pt x="16762" y="11000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202" name="Freeform: Shape 7201">
              <a:extLst>
                <a:ext uri="{FF2B5EF4-FFF2-40B4-BE49-F238E27FC236}">
                  <a16:creationId xmlns:a16="http://schemas.microsoft.com/office/drawing/2014/main" id="{1EDFD98A-3A3A-4B5C-B3DA-E7C21D9B1C60}"/>
                </a:ext>
              </a:extLst>
            </p:cNvPr>
            <p:cNvSpPr/>
            <p:nvPr/>
          </p:nvSpPr>
          <p:spPr>
            <a:xfrm>
              <a:off x="2188833" y="5831606"/>
              <a:ext cx="47144" cy="57620"/>
            </a:xfrm>
            <a:custGeom>
              <a:avLst/>
              <a:gdLst>
                <a:gd name="connsiteX0" fmla="*/ 39810 w 47143"/>
                <a:gd name="connsiteY0" fmla="*/ 33524 h 57620"/>
                <a:gd name="connsiteX1" fmla="*/ 12048 w 47143"/>
                <a:gd name="connsiteY1" fmla="*/ 33524 h 57620"/>
                <a:gd name="connsiteX2" fmla="*/ 12048 w 47143"/>
                <a:gd name="connsiteY2" fmla="*/ 57620 h 57620"/>
                <a:gd name="connsiteX3" fmla="*/ 0 w 47143"/>
                <a:gd name="connsiteY3" fmla="*/ 57620 h 57620"/>
                <a:gd name="connsiteX4" fmla="*/ 0 w 47143"/>
                <a:gd name="connsiteY4" fmla="*/ 0 h 57620"/>
                <a:gd name="connsiteX5" fmla="*/ 12048 w 47143"/>
                <a:gd name="connsiteY5" fmla="*/ 0 h 57620"/>
                <a:gd name="connsiteX6" fmla="*/ 12048 w 47143"/>
                <a:gd name="connsiteY6" fmla="*/ 22524 h 57620"/>
                <a:gd name="connsiteX7" fmla="*/ 39286 w 47143"/>
                <a:gd name="connsiteY7" fmla="*/ 22524 h 57620"/>
                <a:gd name="connsiteX8" fmla="*/ 39286 w 47143"/>
                <a:gd name="connsiteY8" fmla="*/ 0 h 57620"/>
                <a:gd name="connsiteX9" fmla="*/ 51858 w 47143"/>
                <a:gd name="connsiteY9" fmla="*/ 0 h 57620"/>
                <a:gd name="connsiteX10" fmla="*/ 51858 w 47143"/>
                <a:gd name="connsiteY10" fmla="*/ 57620 h 57620"/>
                <a:gd name="connsiteX11" fmla="*/ 39286 w 47143"/>
                <a:gd name="connsiteY11" fmla="*/ 57620 h 57620"/>
                <a:gd name="connsiteX12" fmla="*/ 39286 w 47143"/>
                <a:gd name="connsiteY12" fmla="*/ 33524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7143" h="57620">
                  <a:moveTo>
                    <a:pt x="39810" y="33524"/>
                  </a:moveTo>
                  <a:lnTo>
                    <a:pt x="12048" y="33524"/>
                  </a:lnTo>
                  <a:lnTo>
                    <a:pt x="12048" y="57620"/>
                  </a:lnTo>
                  <a:lnTo>
                    <a:pt x="0" y="57620"/>
                  </a:lnTo>
                  <a:lnTo>
                    <a:pt x="0" y="0"/>
                  </a:lnTo>
                  <a:lnTo>
                    <a:pt x="12048" y="0"/>
                  </a:lnTo>
                  <a:lnTo>
                    <a:pt x="12048" y="22524"/>
                  </a:lnTo>
                  <a:lnTo>
                    <a:pt x="39286" y="22524"/>
                  </a:lnTo>
                  <a:lnTo>
                    <a:pt x="39286" y="0"/>
                  </a:lnTo>
                  <a:lnTo>
                    <a:pt x="51858" y="0"/>
                  </a:lnTo>
                  <a:lnTo>
                    <a:pt x="51858" y="57620"/>
                  </a:lnTo>
                  <a:lnTo>
                    <a:pt x="39286" y="57620"/>
                  </a:lnTo>
                  <a:lnTo>
                    <a:pt x="39286" y="33524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203" name="Freeform: Shape 7202">
              <a:extLst>
                <a:ext uri="{FF2B5EF4-FFF2-40B4-BE49-F238E27FC236}">
                  <a16:creationId xmlns:a16="http://schemas.microsoft.com/office/drawing/2014/main" id="{E6A67895-71AD-416C-8574-D044B0AED212}"/>
                </a:ext>
              </a:extLst>
            </p:cNvPr>
            <p:cNvSpPr/>
            <p:nvPr/>
          </p:nvSpPr>
          <p:spPr>
            <a:xfrm>
              <a:off x="2260596" y="5831606"/>
              <a:ext cx="36667" cy="57620"/>
            </a:xfrm>
            <a:custGeom>
              <a:avLst/>
              <a:gdLst>
                <a:gd name="connsiteX0" fmla="*/ 0 w 36667"/>
                <a:gd name="connsiteY0" fmla="*/ 0 h 57620"/>
                <a:gd name="connsiteX1" fmla="*/ 40858 w 36667"/>
                <a:gd name="connsiteY1" fmla="*/ 0 h 57620"/>
                <a:gd name="connsiteX2" fmla="*/ 40858 w 36667"/>
                <a:gd name="connsiteY2" fmla="*/ 10476 h 57620"/>
                <a:gd name="connsiteX3" fmla="*/ 12048 w 36667"/>
                <a:gd name="connsiteY3" fmla="*/ 10476 h 57620"/>
                <a:gd name="connsiteX4" fmla="*/ 12048 w 36667"/>
                <a:gd name="connsiteY4" fmla="*/ 23048 h 57620"/>
                <a:gd name="connsiteX5" fmla="*/ 39810 w 36667"/>
                <a:gd name="connsiteY5" fmla="*/ 23048 h 57620"/>
                <a:gd name="connsiteX6" fmla="*/ 39810 w 36667"/>
                <a:gd name="connsiteY6" fmla="*/ 33524 h 57620"/>
                <a:gd name="connsiteX7" fmla="*/ 12048 w 36667"/>
                <a:gd name="connsiteY7" fmla="*/ 33524 h 57620"/>
                <a:gd name="connsiteX8" fmla="*/ 12048 w 36667"/>
                <a:gd name="connsiteY8" fmla="*/ 47144 h 57620"/>
                <a:gd name="connsiteX9" fmla="*/ 40858 w 36667"/>
                <a:gd name="connsiteY9" fmla="*/ 47144 h 57620"/>
                <a:gd name="connsiteX10" fmla="*/ 40858 w 36667"/>
                <a:gd name="connsiteY10" fmla="*/ 57620 h 57620"/>
                <a:gd name="connsiteX11" fmla="*/ 0 w 36667"/>
                <a:gd name="connsiteY11" fmla="*/ 57620 h 57620"/>
                <a:gd name="connsiteX12" fmla="*/ 0 w 36667"/>
                <a:gd name="connsiteY12" fmla="*/ 0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6667" h="57620">
                  <a:moveTo>
                    <a:pt x="0" y="0"/>
                  </a:moveTo>
                  <a:lnTo>
                    <a:pt x="40858" y="0"/>
                  </a:lnTo>
                  <a:lnTo>
                    <a:pt x="40858" y="10476"/>
                  </a:lnTo>
                  <a:lnTo>
                    <a:pt x="12048" y="10476"/>
                  </a:lnTo>
                  <a:lnTo>
                    <a:pt x="12048" y="23048"/>
                  </a:lnTo>
                  <a:lnTo>
                    <a:pt x="39810" y="23048"/>
                  </a:lnTo>
                  <a:lnTo>
                    <a:pt x="39810" y="33524"/>
                  </a:lnTo>
                  <a:lnTo>
                    <a:pt x="12048" y="33524"/>
                  </a:lnTo>
                  <a:lnTo>
                    <a:pt x="12048" y="47144"/>
                  </a:lnTo>
                  <a:lnTo>
                    <a:pt x="40858" y="47144"/>
                  </a:lnTo>
                  <a:lnTo>
                    <a:pt x="40858" y="57620"/>
                  </a:lnTo>
                  <a:lnTo>
                    <a:pt x="0" y="576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204" name="Freeform: Shape 7203">
              <a:extLst>
                <a:ext uri="{FF2B5EF4-FFF2-40B4-BE49-F238E27FC236}">
                  <a16:creationId xmlns:a16="http://schemas.microsoft.com/office/drawing/2014/main" id="{93E74227-8C3B-4953-A855-A50863D3408D}"/>
                </a:ext>
              </a:extLst>
            </p:cNvPr>
            <p:cNvSpPr/>
            <p:nvPr/>
          </p:nvSpPr>
          <p:spPr>
            <a:xfrm>
              <a:off x="2320311" y="5832129"/>
              <a:ext cx="47144" cy="57620"/>
            </a:xfrm>
            <a:custGeom>
              <a:avLst/>
              <a:gdLst>
                <a:gd name="connsiteX0" fmla="*/ 20953 w 47143"/>
                <a:gd name="connsiteY0" fmla="*/ 36667 h 57620"/>
                <a:gd name="connsiteX1" fmla="*/ 12048 w 47143"/>
                <a:gd name="connsiteY1" fmla="*/ 36667 h 57620"/>
                <a:gd name="connsiteX2" fmla="*/ 12048 w 47143"/>
                <a:gd name="connsiteY2" fmla="*/ 57620 h 57620"/>
                <a:gd name="connsiteX3" fmla="*/ 0 w 47143"/>
                <a:gd name="connsiteY3" fmla="*/ 57620 h 57620"/>
                <a:gd name="connsiteX4" fmla="*/ 0 w 47143"/>
                <a:gd name="connsiteY4" fmla="*/ 0 h 57620"/>
                <a:gd name="connsiteX5" fmla="*/ 27239 w 47143"/>
                <a:gd name="connsiteY5" fmla="*/ 0 h 57620"/>
                <a:gd name="connsiteX6" fmla="*/ 46620 w 47143"/>
                <a:gd name="connsiteY6" fmla="*/ 18858 h 57620"/>
                <a:gd name="connsiteX7" fmla="*/ 34048 w 47143"/>
                <a:gd name="connsiteY7" fmla="*/ 36144 h 57620"/>
                <a:gd name="connsiteX8" fmla="*/ 47144 w 47143"/>
                <a:gd name="connsiteY8" fmla="*/ 58144 h 57620"/>
                <a:gd name="connsiteX9" fmla="*/ 33001 w 47143"/>
                <a:gd name="connsiteY9" fmla="*/ 58144 h 57620"/>
                <a:gd name="connsiteX10" fmla="*/ 20953 w 47143"/>
                <a:gd name="connsiteY10" fmla="*/ 36667 h 57620"/>
                <a:gd name="connsiteX11" fmla="*/ 24620 w 47143"/>
                <a:gd name="connsiteY11" fmla="*/ 10476 h 57620"/>
                <a:gd name="connsiteX12" fmla="*/ 11524 w 47143"/>
                <a:gd name="connsiteY12" fmla="*/ 10476 h 57620"/>
                <a:gd name="connsiteX13" fmla="*/ 11524 w 47143"/>
                <a:gd name="connsiteY13" fmla="*/ 26191 h 57620"/>
                <a:gd name="connsiteX14" fmla="*/ 24620 w 47143"/>
                <a:gd name="connsiteY14" fmla="*/ 26191 h 57620"/>
                <a:gd name="connsiteX15" fmla="*/ 33525 w 47143"/>
                <a:gd name="connsiteY15" fmla="*/ 18334 h 57620"/>
                <a:gd name="connsiteX16" fmla="*/ 24620 w 47143"/>
                <a:gd name="connsiteY16" fmla="*/ 10476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143" h="57620">
                  <a:moveTo>
                    <a:pt x="20953" y="36667"/>
                  </a:moveTo>
                  <a:lnTo>
                    <a:pt x="12048" y="36667"/>
                  </a:lnTo>
                  <a:lnTo>
                    <a:pt x="12048" y="57620"/>
                  </a:lnTo>
                  <a:lnTo>
                    <a:pt x="0" y="57620"/>
                  </a:lnTo>
                  <a:lnTo>
                    <a:pt x="0" y="0"/>
                  </a:lnTo>
                  <a:lnTo>
                    <a:pt x="27239" y="0"/>
                  </a:lnTo>
                  <a:cubicBezTo>
                    <a:pt x="39286" y="0"/>
                    <a:pt x="46620" y="7857"/>
                    <a:pt x="46620" y="18858"/>
                  </a:cubicBezTo>
                  <a:cubicBezTo>
                    <a:pt x="46620" y="29334"/>
                    <a:pt x="40334" y="34572"/>
                    <a:pt x="34048" y="36144"/>
                  </a:cubicBezTo>
                  <a:lnTo>
                    <a:pt x="47144" y="58144"/>
                  </a:lnTo>
                  <a:lnTo>
                    <a:pt x="33001" y="58144"/>
                  </a:lnTo>
                  <a:lnTo>
                    <a:pt x="20953" y="36667"/>
                  </a:lnTo>
                  <a:close/>
                  <a:moveTo>
                    <a:pt x="24620" y="10476"/>
                  </a:moveTo>
                  <a:lnTo>
                    <a:pt x="11524" y="10476"/>
                  </a:lnTo>
                  <a:lnTo>
                    <a:pt x="11524" y="26191"/>
                  </a:lnTo>
                  <a:lnTo>
                    <a:pt x="24620" y="26191"/>
                  </a:lnTo>
                  <a:cubicBezTo>
                    <a:pt x="29334" y="26191"/>
                    <a:pt x="33525" y="23048"/>
                    <a:pt x="33525" y="18334"/>
                  </a:cubicBezTo>
                  <a:cubicBezTo>
                    <a:pt x="33525" y="13619"/>
                    <a:pt x="29858" y="10476"/>
                    <a:pt x="24620" y="10476"/>
                  </a:cubicBez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205" name="Freeform: Shape 7204">
              <a:extLst>
                <a:ext uri="{FF2B5EF4-FFF2-40B4-BE49-F238E27FC236}">
                  <a16:creationId xmlns:a16="http://schemas.microsoft.com/office/drawing/2014/main" id="{2C0BD4CC-2E4A-43EF-A209-57585A3560C4}"/>
                </a:ext>
              </a:extLst>
            </p:cNvPr>
            <p:cNvSpPr/>
            <p:nvPr/>
          </p:nvSpPr>
          <p:spPr>
            <a:xfrm>
              <a:off x="2384217" y="5832129"/>
              <a:ext cx="47144" cy="57620"/>
            </a:xfrm>
            <a:custGeom>
              <a:avLst/>
              <a:gdLst>
                <a:gd name="connsiteX0" fmla="*/ 12048 w 47143"/>
                <a:gd name="connsiteY0" fmla="*/ 18858 h 57620"/>
                <a:gd name="connsiteX1" fmla="*/ 12048 w 47143"/>
                <a:gd name="connsiteY1" fmla="*/ 57620 h 57620"/>
                <a:gd name="connsiteX2" fmla="*/ 0 w 47143"/>
                <a:gd name="connsiteY2" fmla="*/ 57620 h 57620"/>
                <a:gd name="connsiteX3" fmla="*/ 0 w 47143"/>
                <a:gd name="connsiteY3" fmla="*/ 0 h 57620"/>
                <a:gd name="connsiteX4" fmla="*/ 12572 w 47143"/>
                <a:gd name="connsiteY4" fmla="*/ 0 h 57620"/>
                <a:gd name="connsiteX5" fmla="*/ 39286 w 47143"/>
                <a:gd name="connsiteY5" fmla="*/ 37191 h 57620"/>
                <a:gd name="connsiteX6" fmla="*/ 39286 w 47143"/>
                <a:gd name="connsiteY6" fmla="*/ 0 h 57620"/>
                <a:gd name="connsiteX7" fmla="*/ 51334 w 47143"/>
                <a:gd name="connsiteY7" fmla="*/ 0 h 57620"/>
                <a:gd name="connsiteX8" fmla="*/ 51334 w 47143"/>
                <a:gd name="connsiteY8" fmla="*/ 57620 h 57620"/>
                <a:gd name="connsiteX9" fmla="*/ 39286 w 47143"/>
                <a:gd name="connsiteY9" fmla="*/ 57620 h 57620"/>
                <a:gd name="connsiteX10" fmla="*/ 12048 w 47143"/>
                <a:gd name="connsiteY10" fmla="*/ 18858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143" h="57620">
                  <a:moveTo>
                    <a:pt x="12048" y="18858"/>
                  </a:moveTo>
                  <a:lnTo>
                    <a:pt x="12048" y="57620"/>
                  </a:lnTo>
                  <a:lnTo>
                    <a:pt x="0" y="57620"/>
                  </a:lnTo>
                  <a:lnTo>
                    <a:pt x="0" y="0"/>
                  </a:lnTo>
                  <a:lnTo>
                    <a:pt x="12572" y="0"/>
                  </a:lnTo>
                  <a:lnTo>
                    <a:pt x="39286" y="37191"/>
                  </a:lnTo>
                  <a:lnTo>
                    <a:pt x="39286" y="0"/>
                  </a:lnTo>
                  <a:lnTo>
                    <a:pt x="51334" y="0"/>
                  </a:lnTo>
                  <a:lnTo>
                    <a:pt x="51334" y="57620"/>
                  </a:lnTo>
                  <a:lnTo>
                    <a:pt x="39286" y="57620"/>
                  </a:lnTo>
                  <a:lnTo>
                    <a:pt x="12048" y="18858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206" name="Freeform: Shape 7205">
              <a:extLst>
                <a:ext uri="{FF2B5EF4-FFF2-40B4-BE49-F238E27FC236}">
                  <a16:creationId xmlns:a16="http://schemas.microsoft.com/office/drawing/2014/main" id="{0B779C68-6E7A-4618-9F70-209566EBF724}"/>
                </a:ext>
              </a:extLst>
            </p:cNvPr>
            <p:cNvSpPr/>
            <p:nvPr/>
          </p:nvSpPr>
          <p:spPr>
            <a:xfrm>
              <a:off x="2480600" y="5832129"/>
              <a:ext cx="57620" cy="57620"/>
            </a:xfrm>
            <a:custGeom>
              <a:avLst/>
              <a:gdLst>
                <a:gd name="connsiteX0" fmla="*/ 42953 w 57620"/>
                <a:gd name="connsiteY0" fmla="*/ 47668 h 57620"/>
                <a:gd name="connsiteX1" fmla="*/ 17286 w 57620"/>
                <a:gd name="connsiteY1" fmla="*/ 47668 h 57620"/>
                <a:gd name="connsiteX2" fmla="*/ 13619 w 57620"/>
                <a:gd name="connsiteY2" fmla="*/ 57620 h 57620"/>
                <a:gd name="connsiteX3" fmla="*/ 0 w 57620"/>
                <a:gd name="connsiteY3" fmla="*/ 57620 h 57620"/>
                <a:gd name="connsiteX4" fmla="*/ 22524 w 57620"/>
                <a:gd name="connsiteY4" fmla="*/ 0 h 57620"/>
                <a:gd name="connsiteX5" fmla="*/ 37715 w 57620"/>
                <a:gd name="connsiteY5" fmla="*/ 0 h 57620"/>
                <a:gd name="connsiteX6" fmla="*/ 60239 w 57620"/>
                <a:gd name="connsiteY6" fmla="*/ 57620 h 57620"/>
                <a:gd name="connsiteX7" fmla="*/ 46620 w 57620"/>
                <a:gd name="connsiteY7" fmla="*/ 57620 h 57620"/>
                <a:gd name="connsiteX8" fmla="*/ 42953 w 57620"/>
                <a:gd name="connsiteY8" fmla="*/ 47668 h 57620"/>
                <a:gd name="connsiteX9" fmla="*/ 20429 w 57620"/>
                <a:gd name="connsiteY9" fmla="*/ 36667 h 57620"/>
                <a:gd name="connsiteX10" fmla="*/ 39810 w 57620"/>
                <a:gd name="connsiteY10" fmla="*/ 36667 h 57620"/>
                <a:gd name="connsiteX11" fmla="*/ 30382 w 57620"/>
                <a:gd name="connsiteY11" fmla="*/ 9953 h 57620"/>
                <a:gd name="connsiteX12" fmla="*/ 20429 w 57620"/>
                <a:gd name="connsiteY12" fmla="*/ 36667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620" h="57620">
                  <a:moveTo>
                    <a:pt x="42953" y="47668"/>
                  </a:moveTo>
                  <a:lnTo>
                    <a:pt x="17286" y="47668"/>
                  </a:lnTo>
                  <a:lnTo>
                    <a:pt x="13619" y="57620"/>
                  </a:lnTo>
                  <a:lnTo>
                    <a:pt x="0" y="57620"/>
                  </a:lnTo>
                  <a:lnTo>
                    <a:pt x="22524" y="0"/>
                  </a:lnTo>
                  <a:lnTo>
                    <a:pt x="37715" y="0"/>
                  </a:lnTo>
                  <a:lnTo>
                    <a:pt x="60239" y="57620"/>
                  </a:lnTo>
                  <a:lnTo>
                    <a:pt x="46620" y="57620"/>
                  </a:lnTo>
                  <a:lnTo>
                    <a:pt x="42953" y="47668"/>
                  </a:lnTo>
                  <a:close/>
                  <a:moveTo>
                    <a:pt x="20429" y="36667"/>
                  </a:moveTo>
                  <a:lnTo>
                    <a:pt x="39810" y="36667"/>
                  </a:lnTo>
                  <a:lnTo>
                    <a:pt x="30382" y="9953"/>
                  </a:lnTo>
                  <a:lnTo>
                    <a:pt x="20429" y="36667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207" name="Freeform: Shape 7206">
              <a:extLst>
                <a:ext uri="{FF2B5EF4-FFF2-40B4-BE49-F238E27FC236}">
                  <a16:creationId xmlns:a16="http://schemas.microsoft.com/office/drawing/2014/main" id="{09BDEC4D-A1E6-4B49-996F-37CF3BAA3692}"/>
                </a:ext>
              </a:extLst>
            </p:cNvPr>
            <p:cNvSpPr/>
            <p:nvPr/>
          </p:nvSpPr>
          <p:spPr>
            <a:xfrm>
              <a:off x="2554459" y="5831606"/>
              <a:ext cx="36667" cy="57620"/>
            </a:xfrm>
            <a:custGeom>
              <a:avLst/>
              <a:gdLst>
                <a:gd name="connsiteX0" fmla="*/ 0 w 36667"/>
                <a:gd name="connsiteY0" fmla="*/ 0 h 57620"/>
                <a:gd name="connsiteX1" fmla="*/ 40858 w 36667"/>
                <a:gd name="connsiteY1" fmla="*/ 0 h 57620"/>
                <a:gd name="connsiteX2" fmla="*/ 40858 w 36667"/>
                <a:gd name="connsiteY2" fmla="*/ 10476 h 57620"/>
                <a:gd name="connsiteX3" fmla="*/ 12048 w 36667"/>
                <a:gd name="connsiteY3" fmla="*/ 10476 h 57620"/>
                <a:gd name="connsiteX4" fmla="*/ 12048 w 36667"/>
                <a:gd name="connsiteY4" fmla="*/ 23048 h 57620"/>
                <a:gd name="connsiteX5" fmla="*/ 39810 w 36667"/>
                <a:gd name="connsiteY5" fmla="*/ 23048 h 57620"/>
                <a:gd name="connsiteX6" fmla="*/ 39810 w 36667"/>
                <a:gd name="connsiteY6" fmla="*/ 33524 h 57620"/>
                <a:gd name="connsiteX7" fmla="*/ 12048 w 36667"/>
                <a:gd name="connsiteY7" fmla="*/ 33524 h 57620"/>
                <a:gd name="connsiteX8" fmla="*/ 12048 w 36667"/>
                <a:gd name="connsiteY8" fmla="*/ 57620 h 57620"/>
                <a:gd name="connsiteX9" fmla="*/ 0 w 36667"/>
                <a:gd name="connsiteY9" fmla="*/ 57620 h 57620"/>
                <a:gd name="connsiteX10" fmla="*/ 0 w 36667"/>
                <a:gd name="connsiteY10" fmla="*/ 0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6667" h="57620">
                  <a:moveTo>
                    <a:pt x="0" y="0"/>
                  </a:moveTo>
                  <a:lnTo>
                    <a:pt x="40858" y="0"/>
                  </a:lnTo>
                  <a:lnTo>
                    <a:pt x="40858" y="10476"/>
                  </a:lnTo>
                  <a:lnTo>
                    <a:pt x="12048" y="10476"/>
                  </a:lnTo>
                  <a:lnTo>
                    <a:pt x="12048" y="23048"/>
                  </a:lnTo>
                  <a:lnTo>
                    <a:pt x="39810" y="23048"/>
                  </a:lnTo>
                  <a:lnTo>
                    <a:pt x="39810" y="33524"/>
                  </a:lnTo>
                  <a:lnTo>
                    <a:pt x="12048" y="33524"/>
                  </a:lnTo>
                  <a:lnTo>
                    <a:pt x="12048" y="57620"/>
                  </a:lnTo>
                  <a:lnTo>
                    <a:pt x="0" y="576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208" name="Freeform: Shape 7207">
              <a:extLst>
                <a:ext uri="{FF2B5EF4-FFF2-40B4-BE49-F238E27FC236}">
                  <a16:creationId xmlns:a16="http://schemas.microsoft.com/office/drawing/2014/main" id="{1885757E-306E-4170-B3BA-6D52D569174B}"/>
                </a:ext>
              </a:extLst>
            </p:cNvPr>
            <p:cNvSpPr/>
            <p:nvPr/>
          </p:nvSpPr>
          <p:spPr>
            <a:xfrm>
              <a:off x="2613127" y="5832129"/>
              <a:ext cx="47144" cy="57620"/>
            </a:xfrm>
            <a:custGeom>
              <a:avLst/>
              <a:gdLst>
                <a:gd name="connsiteX0" fmla="*/ 20953 w 47143"/>
                <a:gd name="connsiteY0" fmla="*/ 36667 h 57620"/>
                <a:gd name="connsiteX1" fmla="*/ 12048 w 47143"/>
                <a:gd name="connsiteY1" fmla="*/ 36667 h 57620"/>
                <a:gd name="connsiteX2" fmla="*/ 12048 w 47143"/>
                <a:gd name="connsiteY2" fmla="*/ 57620 h 57620"/>
                <a:gd name="connsiteX3" fmla="*/ 0 w 47143"/>
                <a:gd name="connsiteY3" fmla="*/ 57620 h 57620"/>
                <a:gd name="connsiteX4" fmla="*/ 0 w 47143"/>
                <a:gd name="connsiteY4" fmla="*/ 0 h 57620"/>
                <a:gd name="connsiteX5" fmla="*/ 27239 w 47143"/>
                <a:gd name="connsiteY5" fmla="*/ 0 h 57620"/>
                <a:gd name="connsiteX6" fmla="*/ 46620 w 47143"/>
                <a:gd name="connsiteY6" fmla="*/ 18858 h 57620"/>
                <a:gd name="connsiteX7" fmla="*/ 34048 w 47143"/>
                <a:gd name="connsiteY7" fmla="*/ 36144 h 57620"/>
                <a:gd name="connsiteX8" fmla="*/ 47144 w 47143"/>
                <a:gd name="connsiteY8" fmla="*/ 58144 h 57620"/>
                <a:gd name="connsiteX9" fmla="*/ 33001 w 47143"/>
                <a:gd name="connsiteY9" fmla="*/ 58144 h 57620"/>
                <a:gd name="connsiteX10" fmla="*/ 20953 w 47143"/>
                <a:gd name="connsiteY10" fmla="*/ 36667 h 57620"/>
                <a:gd name="connsiteX11" fmla="*/ 24619 w 47143"/>
                <a:gd name="connsiteY11" fmla="*/ 10476 h 57620"/>
                <a:gd name="connsiteX12" fmla="*/ 12048 w 47143"/>
                <a:gd name="connsiteY12" fmla="*/ 10476 h 57620"/>
                <a:gd name="connsiteX13" fmla="*/ 12048 w 47143"/>
                <a:gd name="connsiteY13" fmla="*/ 26191 h 57620"/>
                <a:gd name="connsiteX14" fmla="*/ 25143 w 47143"/>
                <a:gd name="connsiteY14" fmla="*/ 26191 h 57620"/>
                <a:gd name="connsiteX15" fmla="*/ 34048 w 47143"/>
                <a:gd name="connsiteY15" fmla="*/ 18334 h 57620"/>
                <a:gd name="connsiteX16" fmla="*/ 24619 w 47143"/>
                <a:gd name="connsiteY16" fmla="*/ 10476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7143" h="57620">
                  <a:moveTo>
                    <a:pt x="20953" y="36667"/>
                  </a:moveTo>
                  <a:lnTo>
                    <a:pt x="12048" y="36667"/>
                  </a:lnTo>
                  <a:lnTo>
                    <a:pt x="12048" y="57620"/>
                  </a:lnTo>
                  <a:lnTo>
                    <a:pt x="0" y="57620"/>
                  </a:lnTo>
                  <a:lnTo>
                    <a:pt x="0" y="0"/>
                  </a:lnTo>
                  <a:lnTo>
                    <a:pt x="27239" y="0"/>
                  </a:lnTo>
                  <a:cubicBezTo>
                    <a:pt x="39286" y="0"/>
                    <a:pt x="46620" y="7857"/>
                    <a:pt x="46620" y="18858"/>
                  </a:cubicBezTo>
                  <a:cubicBezTo>
                    <a:pt x="46620" y="29334"/>
                    <a:pt x="40334" y="34572"/>
                    <a:pt x="34048" y="36144"/>
                  </a:cubicBezTo>
                  <a:lnTo>
                    <a:pt x="47144" y="58144"/>
                  </a:lnTo>
                  <a:lnTo>
                    <a:pt x="33001" y="58144"/>
                  </a:lnTo>
                  <a:lnTo>
                    <a:pt x="20953" y="36667"/>
                  </a:lnTo>
                  <a:close/>
                  <a:moveTo>
                    <a:pt x="24619" y="10476"/>
                  </a:moveTo>
                  <a:lnTo>
                    <a:pt x="12048" y="10476"/>
                  </a:lnTo>
                  <a:lnTo>
                    <a:pt x="12048" y="26191"/>
                  </a:lnTo>
                  <a:lnTo>
                    <a:pt x="25143" y="26191"/>
                  </a:lnTo>
                  <a:cubicBezTo>
                    <a:pt x="29858" y="26191"/>
                    <a:pt x="34048" y="23048"/>
                    <a:pt x="34048" y="18334"/>
                  </a:cubicBezTo>
                  <a:cubicBezTo>
                    <a:pt x="33524" y="13619"/>
                    <a:pt x="29858" y="10476"/>
                    <a:pt x="24619" y="10476"/>
                  </a:cubicBez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209" name="Freeform: Shape 7208">
              <a:extLst>
                <a:ext uri="{FF2B5EF4-FFF2-40B4-BE49-F238E27FC236}">
                  <a16:creationId xmlns:a16="http://schemas.microsoft.com/office/drawing/2014/main" id="{0B6CCE38-E4E9-46EF-B481-F064B42E50CB}"/>
                </a:ext>
              </a:extLst>
            </p:cNvPr>
            <p:cNvSpPr/>
            <p:nvPr/>
          </p:nvSpPr>
          <p:spPr>
            <a:xfrm>
              <a:off x="2677032" y="5831606"/>
              <a:ext cx="10476" cy="57620"/>
            </a:xfrm>
            <a:custGeom>
              <a:avLst/>
              <a:gdLst>
                <a:gd name="connsiteX0" fmla="*/ 0 w 10476"/>
                <a:gd name="connsiteY0" fmla="*/ 0 h 57620"/>
                <a:gd name="connsiteX1" fmla="*/ 12048 w 10476"/>
                <a:gd name="connsiteY1" fmla="*/ 0 h 57620"/>
                <a:gd name="connsiteX2" fmla="*/ 12048 w 10476"/>
                <a:gd name="connsiteY2" fmla="*/ 57620 h 57620"/>
                <a:gd name="connsiteX3" fmla="*/ 0 w 10476"/>
                <a:gd name="connsiteY3" fmla="*/ 57620 h 57620"/>
                <a:gd name="connsiteX4" fmla="*/ 0 w 10476"/>
                <a:gd name="connsiteY4" fmla="*/ 0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76" h="57620">
                  <a:moveTo>
                    <a:pt x="0" y="0"/>
                  </a:moveTo>
                  <a:lnTo>
                    <a:pt x="12048" y="0"/>
                  </a:lnTo>
                  <a:lnTo>
                    <a:pt x="12048" y="57620"/>
                  </a:lnTo>
                  <a:lnTo>
                    <a:pt x="0" y="576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210" name="Freeform: Shape 7209">
              <a:extLst>
                <a:ext uri="{FF2B5EF4-FFF2-40B4-BE49-F238E27FC236}">
                  <a16:creationId xmlns:a16="http://schemas.microsoft.com/office/drawing/2014/main" id="{ADD15259-1E76-4600-AF24-0D83085922A0}"/>
                </a:ext>
              </a:extLst>
            </p:cNvPr>
            <p:cNvSpPr/>
            <p:nvPr/>
          </p:nvSpPr>
          <p:spPr>
            <a:xfrm>
              <a:off x="2706890" y="5831082"/>
              <a:ext cx="52382" cy="57620"/>
            </a:xfrm>
            <a:custGeom>
              <a:avLst/>
              <a:gdLst>
                <a:gd name="connsiteX0" fmla="*/ 0 w 52381"/>
                <a:gd name="connsiteY0" fmla="*/ 29858 h 57620"/>
                <a:gd name="connsiteX1" fmla="*/ 30381 w 52381"/>
                <a:gd name="connsiteY1" fmla="*/ 0 h 57620"/>
                <a:gd name="connsiteX2" fmla="*/ 55001 w 52381"/>
                <a:gd name="connsiteY2" fmla="*/ 14143 h 57620"/>
                <a:gd name="connsiteX3" fmla="*/ 44525 w 52381"/>
                <a:gd name="connsiteY3" fmla="*/ 19381 h 57620"/>
                <a:gd name="connsiteX4" fmla="*/ 30381 w 52381"/>
                <a:gd name="connsiteY4" fmla="*/ 11000 h 57620"/>
                <a:gd name="connsiteX5" fmla="*/ 12572 w 52381"/>
                <a:gd name="connsiteY5" fmla="*/ 29858 h 57620"/>
                <a:gd name="connsiteX6" fmla="*/ 30381 w 52381"/>
                <a:gd name="connsiteY6" fmla="*/ 48715 h 57620"/>
                <a:gd name="connsiteX7" fmla="*/ 44525 w 52381"/>
                <a:gd name="connsiteY7" fmla="*/ 40334 h 57620"/>
                <a:gd name="connsiteX8" fmla="*/ 55001 w 52381"/>
                <a:gd name="connsiteY8" fmla="*/ 45572 h 57620"/>
                <a:gd name="connsiteX9" fmla="*/ 30381 w 52381"/>
                <a:gd name="connsiteY9" fmla="*/ 59715 h 57620"/>
                <a:gd name="connsiteX10" fmla="*/ 0 w 52381"/>
                <a:gd name="connsiteY10" fmla="*/ 29858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381" h="57620">
                  <a:moveTo>
                    <a:pt x="0" y="29858"/>
                  </a:moveTo>
                  <a:cubicBezTo>
                    <a:pt x="0" y="12048"/>
                    <a:pt x="13619" y="0"/>
                    <a:pt x="30381" y="0"/>
                  </a:cubicBezTo>
                  <a:cubicBezTo>
                    <a:pt x="43477" y="0"/>
                    <a:pt x="50810" y="6810"/>
                    <a:pt x="55001" y="14143"/>
                  </a:cubicBezTo>
                  <a:lnTo>
                    <a:pt x="44525" y="19381"/>
                  </a:lnTo>
                  <a:cubicBezTo>
                    <a:pt x="41906" y="14667"/>
                    <a:pt x="36667" y="11000"/>
                    <a:pt x="30381" y="11000"/>
                  </a:cubicBezTo>
                  <a:cubicBezTo>
                    <a:pt x="20429" y="11000"/>
                    <a:pt x="12572" y="18858"/>
                    <a:pt x="12572" y="29858"/>
                  </a:cubicBezTo>
                  <a:cubicBezTo>
                    <a:pt x="12572" y="40858"/>
                    <a:pt x="20429" y="48715"/>
                    <a:pt x="30381" y="48715"/>
                  </a:cubicBezTo>
                  <a:cubicBezTo>
                    <a:pt x="36667" y="48715"/>
                    <a:pt x="41906" y="45048"/>
                    <a:pt x="44525" y="40334"/>
                  </a:cubicBezTo>
                  <a:lnTo>
                    <a:pt x="55001" y="45572"/>
                  </a:lnTo>
                  <a:cubicBezTo>
                    <a:pt x="50810" y="52906"/>
                    <a:pt x="43477" y="59715"/>
                    <a:pt x="30381" y="59715"/>
                  </a:cubicBezTo>
                  <a:cubicBezTo>
                    <a:pt x="13095" y="59715"/>
                    <a:pt x="0" y="47668"/>
                    <a:pt x="0" y="29858"/>
                  </a:cubicBez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  <p:sp>
          <p:nvSpPr>
            <p:cNvPr id="7211" name="Freeform: Shape 7210">
              <a:extLst>
                <a:ext uri="{FF2B5EF4-FFF2-40B4-BE49-F238E27FC236}">
                  <a16:creationId xmlns:a16="http://schemas.microsoft.com/office/drawing/2014/main" id="{90A3D042-3080-4F51-AFD2-1CDA9ABC8775}"/>
                </a:ext>
              </a:extLst>
            </p:cNvPr>
            <p:cNvSpPr/>
            <p:nvPr/>
          </p:nvSpPr>
          <p:spPr>
            <a:xfrm>
              <a:off x="2770796" y="5832129"/>
              <a:ext cx="57620" cy="57620"/>
            </a:xfrm>
            <a:custGeom>
              <a:avLst/>
              <a:gdLst>
                <a:gd name="connsiteX0" fmla="*/ 42953 w 57620"/>
                <a:gd name="connsiteY0" fmla="*/ 47668 h 57620"/>
                <a:gd name="connsiteX1" fmla="*/ 17286 w 57620"/>
                <a:gd name="connsiteY1" fmla="*/ 47668 h 57620"/>
                <a:gd name="connsiteX2" fmla="*/ 13619 w 57620"/>
                <a:gd name="connsiteY2" fmla="*/ 57620 h 57620"/>
                <a:gd name="connsiteX3" fmla="*/ 0 w 57620"/>
                <a:gd name="connsiteY3" fmla="*/ 57620 h 57620"/>
                <a:gd name="connsiteX4" fmla="*/ 22524 w 57620"/>
                <a:gd name="connsiteY4" fmla="*/ 0 h 57620"/>
                <a:gd name="connsiteX5" fmla="*/ 37715 w 57620"/>
                <a:gd name="connsiteY5" fmla="*/ 0 h 57620"/>
                <a:gd name="connsiteX6" fmla="*/ 60239 w 57620"/>
                <a:gd name="connsiteY6" fmla="*/ 57620 h 57620"/>
                <a:gd name="connsiteX7" fmla="*/ 46620 w 57620"/>
                <a:gd name="connsiteY7" fmla="*/ 57620 h 57620"/>
                <a:gd name="connsiteX8" fmla="*/ 42953 w 57620"/>
                <a:gd name="connsiteY8" fmla="*/ 47668 h 57620"/>
                <a:gd name="connsiteX9" fmla="*/ 20429 w 57620"/>
                <a:gd name="connsiteY9" fmla="*/ 36667 h 57620"/>
                <a:gd name="connsiteX10" fmla="*/ 39810 w 57620"/>
                <a:gd name="connsiteY10" fmla="*/ 36667 h 57620"/>
                <a:gd name="connsiteX11" fmla="*/ 30382 w 57620"/>
                <a:gd name="connsiteY11" fmla="*/ 9953 h 57620"/>
                <a:gd name="connsiteX12" fmla="*/ 20429 w 57620"/>
                <a:gd name="connsiteY12" fmla="*/ 36667 h 57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7620" h="57620">
                  <a:moveTo>
                    <a:pt x="42953" y="47668"/>
                  </a:moveTo>
                  <a:lnTo>
                    <a:pt x="17286" y="47668"/>
                  </a:lnTo>
                  <a:lnTo>
                    <a:pt x="13619" y="57620"/>
                  </a:lnTo>
                  <a:lnTo>
                    <a:pt x="0" y="57620"/>
                  </a:lnTo>
                  <a:lnTo>
                    <a:pt x="22524" y="0"/>
                  </a:lnTo>
                  <a:lnTo>
                    <a:pt x="37715" y="0"/>
                  </a:lnTo>
                  <a:lnTo>
                    <a:pt x="60239" y="57620"/>
                  </a:lnTo>
                  <a:lnTo>
                    <a:pt x="46620" y="57620"/>
                  </a:lnTo>
                  <a:lnTo>
                    <a:pt x="42953" y="47668"/>
                  </a:lnTo>
                  <a:close/>
                  <a:moveTo>
                    <a:pt x="20429" y="36667"/>
                  </a:moveTo>
                  <a:lnTo>
                    <a:pt x="39810" y="36667"/>
                  </a:lnTo>
                  <a:lnTo>
                    <a:pt x="30382" y="9953"/>
                  </a:lnTo>
                  <a:lnTo>
                    <a:pt x="20429" y="36667"/>
                  </a:lnTo>
                  <a:close/>
                </a:path>
              </a:pathLst>
            </a:custGeom>
            <a:solidFill>
              <a:srgbClr val="3A201A"/>
            </a:solidFill>
            <a:ln w="52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ZA"/>
            </a:p>
          </p:txBody>
        </p:sp>
      </p:grpSp>
    </p:spTree>
    <p:extLst>
      <p:ext uri="{BB962C8B-B14F-4D97-AF65-F5344CB8AC3E}">
        <p14:creationId xmlns:p14="http://schemas.microsoft.com/office/powerpoint/2010/main" val="19152319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ter - Projec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D1F1E9-2F16-49A8-B18C-14E035F41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0266C90-E7AD-431F-971E-ACA0CECD9F4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CBEC23D-A081-4CB5-898F-46C465A8D54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1319213"/>
            <a:ext cx="5867997" cy="55387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ZA"/>
              <a:t>Project image to go her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7054A13-85B2-414A-8760-AFFB16CE3430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313308" y="1485328"/>
            <a:ext cx="5328000" cy="1224000"/>
          </a:xfrm>
          <a:ln>
            <a:noFill/>
          </a:ln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201D4D64-AB3F-476E-8DCC-97A2F5E672D9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6313308" y="3232434"/>
            <a:ext cx="5328000" cy="1512000"/>
          </a:xfrm>
          <a:ln>
            <a:noFill/>
          </a:ln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7500E3F-1B7F-425A-BA15-0279907C30A8}"/>
              </a:ext>
            </a:extLst>
          </p:cNvPr>
          <p:cNvCxnSpPr>
            <a:cxnSpLocks/>
          </p:cNvCxnSpPr>
          <p:nvPr userDrawn="1"/>
        </p:nvCxnSpPr>
        <p:spPr>
          <a:xfrm>
            <a:off x="6313308" y="3143386"/>
            <a:ext cx="532923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5811EE97-501B-4818-BD31-8D5A8969CE99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313308" y="5235539"/>
            <a:ext cx="5328000" cy="976036"/>
          </a:xfrm>
          <a:ln>
            <a:noFill/>
          </a:ln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7408BA5-C035-42E9-8523-E70300246704}"/>
              </a:ext>
            </a:extLst>
          </p:cNvPr>
          <p:cNvCxnSpPr>
            <a:cxnSpLocks/>
          </p:cNvCxnSpPr>
          <p:nvPr userDrawn="1"/>
        </p:nvCxnSpPr>
        <p:spPr>
          <a:xfrm>
            <a:off x="6313308" y="5155116"/>
            <a:ext cx="5329237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87">
            <a:extLst>
              <a:ext uri="{FF2B5EF4-FFF2-40B4-BE49-F238E27FC236}">
                <a16:creationId xmlns:a16="http://schemas.microsoft.com/office/drawing/2014/main" id="{1BA48E22-F513-4DF6-B3A0-0EEF2A465D1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313308" y="2819386"/>
            <a:ext cx="5329237" cy="324000"/>
          </a:xfrm>
        </p:spPr>
        <p:txBody>
          <a:bodyPr lIns="0" tIns="36000" rIns="0" bIns="36000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ZA"/>
              <a:t>Features heading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6495150A-B875-49B4-85CA-E9F5B95AAEC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13308" y="4822490"/>
            <a:ext cx="5329237" cy="324000"/>
          </a:xfrm>
        </p:spPr>
        <p:txBody>
          <a:bodyPr lIns="0" tIns="36000" rIns="0" bIns="36000"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ZA"/>
              <a:t>Impact heading</a:t>
            </a:r>
          </a:p>
        </p:txBody>
      </p:sp>
    </p:spTree>
    <p:extLst>
      <p:ext uri="{BB962C8B-B14F-4D97-AF65-F5344CB8AC3E}">
        <p14:creationId xmlns:p14="http://schemas.microsoft.com/office/powerpoint/2010/main" val="35551313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A4F5D1-E843-495A-9693-0BDE40323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48D1A80-35AF-4F31-9694-F91E515C35A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76000" y="1512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E4EF01F-E801-42C9-9D0F-0E91730AFDF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6000" y="3924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5A706D89-4D2F-40B5-83D3-1342AB8C3B1E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336000" y="1512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92E91344-719D-4AED-8904-B406D9982AB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336000" y="3924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7DD2AC0-5160-42CA-A94E-EAE019CFA07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625961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0E4E31E-D0ED-BF4C-8F01-169C699EAC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7300" y="1512000"/>
            <a:ext cx="5292000" cy="467420"/>
          </a:xfrm>
          <a:prstGeom prst="rect">
            <a:avLst/>
          </a:prstGeom>
          <a:solidFill>
            <a:schemeClr val="accent2"/>
          </a:solidFill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4DFBD0-877C-964D-B4B3-D6642782E90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36000" y="1512000"/>
            <a:ext cx="5292000" cy="467420"/>
          </a:xfrm>
          <a:prstGeom prst="rect">
            <a:avLst/>
          </a:prstGeom>
          <a:solidFill>
            <a:schemeClr val="accent2"/>
          </a:solidFill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CA4E034-E54E-314D-89F7-FEAA3C7414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F77E23B-89B3-4148-8651-94BDEFFB03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98C9B3A0-57E2-4ABF-AB01-31A52F9A09A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7300" y="1980000"/>
            <a:ext cx="5292000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849CC09-F5A9-4D08-8B66-4D52A84EE201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36000" y="1980000"/>
            <a:ext cx="5292000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52805D-9AB0-4DB9-9468-DED7F5831C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1EAB735-A20A-42E5-8A38-FB0C25EC9F2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416148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B9F275-7CAB-47A5-9BF5-7B7AE11E0D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7ADAF637-30A9-4E85-864E-2F0297D87097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5999" y="1512000"/>
            <a:ext cx="5292000" cy="46450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C7535C6-94EA-4293-9862-78C3F50FA03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1F72201-EFA6-4A51-8095-D35577CC451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24002" y="1319213"/>
            <a:ext cx="5867997" cy="55387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ZA"/>
              <a:t>Photo to go here</a:t>
            </a:r>
          </a:p>
        </p:txBody>
      </p:sp>
    </p:spTree>
    <p:extLst>
      <p:ext uri="{BB962C8B-B14F-4D97-AF65-F5344CB8AC3E}">
        <p14:creationId xmlns:p14="http://schemas.microsoft.com/office/powerpoint/2010/main" val="9978847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A4F5D1-E843-495A-9693-0BDE40323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48D1A80-35AF-4F31-9694-F91E515C35A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76000" y="1512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E4EF01F-E801-42C9-9D0F-0E91730AFDF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6000" y="3924000"/>
            <a:ext cx="5292000" cy="2232000"/>
          </a:xfrm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7DD2AC0-5160-42CA-A94E-EAE019CFA07E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62E8B2A9-C43D-47E5-AE16-448D85A64A4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24002" y="1319213"/>
            <a:ext cx="5867997" cy="55387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ZA"/>
              <a:t>Photo to go here</a:t>
            </a:r>
          </a:p>
        </p:txBody>
      </p:sp>
    </p:spTree>
    <p:extLst>
      <p:ext uri="{BB962C8B-B14F-4D97-AF65-F5344CB8AC3E}">
        <p14:creationId xmlns:p14="http://schemas.microsoft.com/office/powerpoint/2010/main" val="35313842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4B3074-141B-5946-B9E1-42EFC0E7DC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C490977-A34B-46F3-BFA4-BAEDD7BCAFE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53B72F2-15DE-42CC-9B95-02B569D4C2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6" name="Slide Number Placeholder 8">
            <a:extLst>
              <a:ext uri="{FF2B5EF4-FFF2-40B4-BE49-F238E27FC236}">
                <a16:creationId xmlns:a16="http://schemas.microsoft.com/office/drawing/2014/main" id="{5CBB275C-4CF8-42F7-9D0E-C5AFE1825E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6348712"/>
            <a:ext cx="1104181" cy="365125"/>
          </a:xfrm>
        </p:spPr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46110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052CACB-6AD7-3849-BEF7-AA83DC15DD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30D635-7FEF-9042-9D92-ECDCC61E31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0995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auto">
          <a:xfrm>
            <a:off x="162011" y="234864"/>
            <a:ext cx="10417332" cy="387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solidFill>
                  <a:srgbClr val="A25C0A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8" name="SlideLogoSeparator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1467272" y="6533820"/>
            <a:ext cx="40075" cy="188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1784"/>
            <a:r>
              <a:rPr lang="en-US" sz="1224">
                <a:solidFill>
                  <a:prstClr val="black"/>
                </a:solidFill>
              </a:rPr>
              <a:t>|</a:t>
            </a:r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11587285" y="6560196"/>
            <a:ext cx="284012" cy="15701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lang="en-US" sz="102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prstClr val="black"/>
                </a:solidFill>
              </a:rPr>
              <a:pPr/>
              <a:t>‹#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74124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5" name="Picture Placeholder 7214">
            <a:extLst>
              <a:ext uri="{FF2B5EF4-FFF2-40B4-BE49-F238E27FC236}">
                <a16:creationId xmlns:a16="http://schemas.microsoft.com/office/drawing/2014/main" id="{D114D96A-9FFF-4C12-89E6-CFA283F7BE5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989139"/>
            <a:ext cx="12192000" cy="4868862"/>
          </a:xfrm>
          <a:solidFill>
            <a:schemeClr val="tx1">
              <a:lumMod val="50000"/>
              <a:lumOff val="5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ZA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D0B29E09-B633-4294-8360-AE355F6F7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079" y="478312"/>
            <a:ext cx="9180000" cy="1028216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16DB179-B096-4879-856B-F41FDE5FDF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1079" y="1520825"/>
            <a:ext cx="9180000" cy="58758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1079" y="0"/>
            <a:ext cx="2185115" cy="1510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3205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15" name="Picture Placeholder 7214">
            <a:extLst>
              <a:ext uri="{FF2B5EF4-FFF2-40B4-BE49-F238E27FC236}">
                <a16:creationId xmlns:a16="http://schemas.microsoft.com/office/drawing/2014/main" id="{D114D96A-9FFF-4C12-89E6-CFA283F7BE5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870800"/>
          </a:xfrm>
          <a:solidFill>
            <a:schemeClr val="tx1">
              <a:lumMod val="50000"/>
              <a:lumOff val="5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ZA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D0B29E09-B633-4294-8360-AE355F6F7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6192" y="5017448"/>
            <a:ext cx="11093203" cy="594789"/>
          </a:xfrm>
        </p:spPr>
        <p:txBody>
          <a:bodyPr anchor="t">
            <a:normAutofit/>
          </a:bodyPr>
          <a:lstStyle>
            <a:lvl1pPr algn="l"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Divider slide tit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16DB179-B096-4879-856B-F41FDE5FDF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6192" y="5612237"/>
            <a:ext cx="11093203" cy="50389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84924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1F9F51E9-144D-49EB-9148-DAC575243B03}"/>
              </a:ext>
            </a:extLst>
          </p:cNvPr>
          <p:cNvSpPr/>
          <p:nvPr userDrawn="1"/>
        </p:nvSpPr>
        <p:spPr>
          <a:xfrm>
            <a:off x="0" y="3001992"/>
            <a:ext cx="12187275" cy="38732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D0B29E09-B633-4294-8360-AE355F6F78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63706" y="-1"/>
            <a:ext cx="6772190" cy="1412893"/>
          </a:xfrm>
        </p:spPr>
        <p:txBody>
          <a:bodyPr anchor="b">
            <a:normAutofit/>
          </a:bodyPr>
          <a:lstStyle>
            <a:lvl1pPr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050390A-4B49-4CB8-B887-760D9EE129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2406" y="396853"/>
            <a:ext cx="1876066" cy="4229098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C85E1C8-E03C-48CB-9E49-192371896DD2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5063706" y="1412892"/>
            <a:ext cx="6772191" cy="76556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12153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1DAAD0-3C86-4AD8-81D7-994BBF7E5EE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03E435F5-DD78-4D34-957C-ED71A2B5647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76000" y="1512000"/>
            <a:ext cx="11052000" cy="417671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B1D079-E8F8-4C7E-9D24-B5E59D145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AB60BAD-8580-4CDA-8169-9ADAD9749AA4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846E9F3-1A7B-4387-B05A-AB2A0F623A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348712"/>
            <a:ext cx="1104181" cy="365125"/>
          </a:xfrm>
          <a:prstGeom prst="rect">
            <a:avLst/>
          </a:prstGeom>
          <a:noFill/>
        </p:spPr>
        <p:txBody>
          <a:bodyPr vert="horz" lIns="504000" tIns="45720" rIns="252000" bIns="45720" rtlCol="0" anchor="ctr"/>
          <a:lstStyle>
            <a:lvl1pPr algn="l">
              <a:defRPr sz="1050" b="0" i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fld id="{0D712AE6-0A2C-8540-9ACB-1C6BCF181E5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04903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07D2F30-9801-45FE-8097-7423AA67A5F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76000" y="1512000"/>
            <a:ext cx="11052000" cy="2232000"/>
          </a:xfrm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1DAAD0-3C86-4AD8-81D7-994BBF7E5EE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45D345-C6F5-486A-9688-2850A3478A3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76000" y="3924000"/>
            <a:ext cx="11052000" cy="2232000"/>
          </a:xfrm>
          <a:ln>
            <a:noFill/>
          </a:ln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F5204B-5A82-4C86-80F8-21481DBB8F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3585F59-2A24-47B4-AC6F-0F3B7B892D70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A32DF0-19AF-47FE-ACEA-DD1400345A3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14048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B9F275-7CAB-47A5-9BF5-7B7AE11E0D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7ADAF637-30A9-4E85-864E-2F0297D87097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75999" y="1512000"/>
            <a:ext cx="5292000" cy="46450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A4BF37B5-A4FD-4AD7-8C70-11EBDFE6F66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336000" y="1512000"/>
            <a:ext cx="5292000" cy="46538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C7535C6-94EA-4293-9862-78C3F50FA03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51345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2F6E8B-0EB5-4C4B-9D11-72FE48F41C6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50863" y="1512000"/>
            <a:ext cx="3528000" cy="46313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C08D098C-6017-499A-B0D9-AC2E8C89335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111603" y="1512000"/>
            <a:ext cx="3528000" cy="46313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01C018B9-3C06-4742-A5AC-E8210F3296A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32000" y="1512000"/>
            <a:ext cx="3528000" cy="46450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6FC491-B8CC-4E13-968E-518AC8CB3B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28BA15A-5680-49EF-BE2C-DC4ED75B7DD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23314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ergy - Projec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5D24EC6-A70D-CB4D-9267-BF5148A25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6AD6EE-4C01-FB4C-A24C-72835CDCF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D1F1E9-2F16-49A8-B18C-14E035F41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5F6A113-0BCA-4FC4-A124-2818674004DC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50863" y="1485328"/>
            <a:ext cx="5328000" cy="1224000"/>
          </a:xfrm>
          <a:ln>
            <a:noFill/>
          </a:ln>
        </p:spPr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17EC6645-32C5-4F8E-8BFC-FFBCD2C2DF0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50863" y="3232434"/>
            <a:ext cx="5328000" cy="1512000"/>
          </a:xfrm>
          <a:ln>
            <a:noFill/>
          </a:ln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0266C90-E7AD-431F-971E-ACA0CECD9F40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81139" y="819511"/>
            <a:ext cx="11160000" cy="275493"/>
          </a:xfrm>
          <a:prstGeom prst="rect">
            <a:avLst/>
          </a:prstGeom>
        </p:spPr>
        <p:txBody>
          <a:bodyPr lIns="72000" tIns="36000" rIns="72000" bIns="36000" anchor="b">
            <a:noAutofit/>
          </a:bodyPr>
          <a:lstStyle>
            <a:lvl1pPr marL="0" indent="0" algn="l">
              <a:buNone/>
              <a:defRPr sz="1600" b="1" i="1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4906314-B2BC-4E9F-8E76-450077AB12AF}"/>
              </a:ext>
            </a:extLst>
          </p:cNvPr>
          <p:cNvCxnSpPr>
            <a:cxnSpLocks/>
          </p:cNvCxnSpPr>
          <p:nvPr userDrawn="1"/>
        </p:nvCxnSpPr>
        <p:spPr>
          <a:xfrm>
            <a:off x="550863" y="3143386"/>
            <a:ext cx="5329237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2CBEC23D-A081-4CB5-898F-46C465A8D54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324002" y="1319213"/>
            <a:ext cx="5867997" cy="5538787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ZA"/>
              <a:t>Project image to go her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2A8D64F-8BA9-449D-9FF9-F028B6EB8CE4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550863" y="5235539"/>
            <a:ext cx="5328000" cy="976036"/>
          </a:xfrm>
          <a:ln>
            <a:noFill/>
          </a:ln>
        </p:spPr>
        <p:txBody>
          <a:bodyPr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100"/>
            </a:lvl3pPr>
            <a:lvl4pPr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49AD1A3-F467-41BF-9EA4-A9D985144D69}"/>
              </a:ext>
            </a:extLst>
          </p:cNvPr>
          <p:cNvCxnSpPr>
            <a:cxnSpLocks/>
          </p:cNvCxnSpPr>
          <p:nvPr userDrawn="1"/>
        </p:nvCxnSpPr>
        <p:spPr>
          <a:xfrm>
            <a:off x="550863" y="5155116"/>
            <a:ext cx="5329237" cy="0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87">
            <a:extLst>
              <a:ext uri="{FF2B5EF4-FFF2-40B4-BE49-F238E27FC236}">
                <a16:creationId xmlns:a16="http://schemas.microsoft.com/office/drawing/2014/main" id="{D04E0BDD-3BEA-4BA6-BDEC-19BB0377082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50863" y="2819386"/>
            <a:ext cx="5329237" cy="324000"/>
          </a:xfrm>
        </p:spPr>
        <p:txBody>
          <a:bodyPr lIns="0" tIns="36000" rIns="0" bIns="36000"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ZA"/>
              <a:t>Features heading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ABD28B16-56DA-4C77-B8E5-931CACF2415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50863" y="4822490"/>
            <a:ext cx="5329237" cy="324000"/>
          </a:xfrm>
        </p:spPr>
        <p:txBody>
          <a:bodyPr lIns="0" tIns="36000" rIns="0" bIns="36000"/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r>
              <a:rPr lang="en-ZA"/>
              <a:t>Impact heading</a:t>
            </a:r>
          </a:p>
        </p:txBody>
      </p:sp>
    </p:spTree>
    <p:extLst>
      <p:ext uri="{BB962C8B-B14F-4D97-AF65-F5344CB8AC3E}">
        <p14:creationId xmlns:p14="http://schemas.microsoft.com/office/powerpoint/2010/main" val="30012006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F348816-E772-0046-815D-73FE09D9C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139" y="330655"/>
            <a:ext cx="9841889" cy="468000"/>
          </a:xfrm>
          <a:prstGeom prst="rect">
            <a:avLst/>
          </a:prstGeom>
        </p:spPr>
        <p:txBody>
          <a:bodyPr vert="horz" lIns="72000" tIns="36000" rIns="72000" bIns="36000" rtlCol="0" anchor="b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E2DEFD-6E6F-4841-BBC6-C6581B7000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04180" y="6348712"/>
            <a:ext cx="63152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0E93A2-7A16-0A4F-8F5D-E94E4B5981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348712"/>
            <a:ext cx="1104181" cy="365125"/>
          </a:xfrm>
          <a:prstGeom prst="rect">
            <a:avLst/>
          </a:prstGeom>
          <a:noFill/>
        </p:spPr>
        <p:txBody>
          <a:bodyPr vert="horz" lIns="504000" tIns="45720" rIns="252000" bIns="45720" rtlCol="0" anchor="ctr"/>
          <a:lstStyle>
            <a:lvl1pPr algn="l">
              <a:defRPr sz="1050" b="0" i="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fld id="{0D712AE6-0A2C-8540-9ACB-1C6BCF181E5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E2EA05E8-74A5-44AD-A8E0-EA269D3873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6000" y="1512000"/>
            <a:ext cx="11052000" cy="464684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D5988A5-E78D-4469-B977-4AA3219D251D}"/>
              </a:ext>
            </a:extLst>
          </p:cNvPr>
          <p:cNvSpPr/>
          <p:nvPr userDrawn="1"/>
        </p:nvSpPr>
        <p:spPr>
          <a:xfrm>
            <a:off x="-600" y="1138411"/>
            <a:ext cx="12193200" cy="180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ZA"/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D5A296E1-8ABA-0A4D-B745-D0218A2A3717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4423" y="250567"/>
            <a:ext cx="1250729" cy="541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45580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7" r:id="rId2"/>
    <p:sldLayoutId id="2147483669" r:id="rId3"/>
    <p:sldLayoutId id="2147483666" r:id="rId4"/>
    <p:sldLayoutId id="2147483650" r:id="rId5"/>
    <p:sldLayoutId id="2147483662" r:id="rId6"/>
    <p:sldLayoutId id="2147483652" r:id="rId7"/>
    <p:sldLayoutId id="2147483663" r:id="rId8"/>
    <p:sldLayoutId id="2147483664" r:id="rId9"/>
    <p:sldLayoutId id="2147483671" r:id="rId10"/>
    <p:sldLayoutId id="2147483665" r:id="rId11"/>
    <p:sldLayoutId id="2147483653" r:id="rId12"/>
    <p:sldLayoutId id="2147483670" r:id="rId13"/>
    <p:sldLayoutId id="2147483672" r:id="rId14"/>
    <p:sldLayoutId id="2147483654" r:id="rId15"/>
    <p:sldLayoutId id="2147483655" r:id="rId16"/>
    <p:sldLayoutId id="2147483673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 cap="all" spc="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600" b="0" i="0" kern="1200">
          <a:solidFill>
            <a:schemeClr val="tx2"/>
          </a:solidFill>
          <a:latin typeface="+mn-lt"/>
          <a:ea typeface="+mn-ea"/>
          <a:cs typeface="+mn-cs"/>
        </a:defRPr>
      </a:lvl1pPr>
      <a:lvl2pPr marL="360363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2"/>
        </a:buClr>
        <a:buFont typeface="Wingdings" panose="05000000000000000000" pitchFamily="2" charset="2"/>
        <a:buChar char="§"/>
        <a:defRPr sz="1500" b="0" i="0" kern="1200">
          <a:solidFill>
            <a:schemeClr val="tx2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Font typeface="Wingdings" panose="05000000000000000000" pitchFamily="2" charset="2"/>
        <a:buChar char="§"/>
        <a:defRPr sz="1400" b="0" i="0" kern="1200">
          <a:solidFill>
            <a:schemeClr val="tx2"/>
          </a:solidFill>
          <a:latin typeface="+mn-lt"/>
          <a:ea typeface="+mn-ea"/>
          <a:cs typeface="+mn-cs"/>
        </a:defRPr>
      </a:lvl3pPr>
      <a:lvl4pPr marL="719138" indent="-180000" algn="l" defTabSz="914400" rtl="0" eaLnBrk="1" latinLnBrk="0" hangingPunct="1">
        <a:lnSpc>
          <a:spcPct val="100000"/>
        </a:lnSpc>
        <a:spcBef>
          <a:spcPts val="400"/>
        </a:spcBef>
        <a:buClr>
          <a:schemeClr val="accent2"/>
        </a:buClr>
        <a:buFont typeface="Wingdings" panose="05000000000000000000" pitchFamily="2" charset="2"/>
        <a:buChar char="§"/>
        <a:defRPr sz="1300" b="0" i="0" kern="1200">
          <a:solidFill>
            <a:schemeClr val="tx2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Wingdings" panose="05000000000000000000" pitchFamily="2" charset="2"/>
        <a:buChar char="§"/>
        <a:defRPr sz="1200" b="0" i="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47" userDrawn="1">
          <p15:clr>
            <a:srgbClr val="F26B43"/>
          </p15:clr>
        </p15:guide>
        <p15:guide id="4" orient="horz" pos="232" userDrawn="1">
          <p15:clr>
            <a:srgbClr val="F26B43"/>
          </p15:clr>
        </p15:guide>
        <p15:guide id="5" orient="horz" pos="958" userDrawn="1">
          <p15:clr>
            <a:srgbClr val="F26B43"/>
          </p15:clr>
        </p15:guide>
        <p15:guide id="6" pos="7333" userDrawn="1">
          <p15:clr>
            <a:srgbClr val="F26B43"/>
          </p15:clr>
        </p15:guide>
        <p15:guide id="7" orient="horz" pos="3884" userDrawn="1">
          <p15:clr>
            <a:srgbClr val="F26B43"/>
          </p15:clr>
        </p15:guide>
        <p15:guide id="8" pos="3704" userDrawn="1">
          <p15:clr>
            <a:srgbClr val="F26B43"/>
          </p15:clr>
        </p15:guide>
        <p15:guide id="9" orient="horz" pos="1253" userDrawn="1">
          <p15:clr>
            <a:srgbClr val="F26B43"/>
          </p15:clr>
        </p15:guide>
        <p15:guide id="10" pos="397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https://www.azquotes.com/author/7392-Thomas_Jefferson" TargetMode="External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7466F022-9AE8-46C6-B053-74851AFDAF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631" y="478312"/>
            <a:ext cx="9552733" cy="1028216"/>
          </a:xfrm>
        </p:spPr>
        <p:txBody>
          <a:bodyPr>
            <a:normAutofit/>
          </a:bodyPr>
          <a:lstStyle/>
          <a:p>
            <a:r>
              <a:rPr lang="en-ZA">
                <a:solidFill>
                  <a:srgbClr val="402020"/>
                </a:solidFill>
              </a:rPr>
              <a:t>The role of sovereign funds</a:t>
            </a:r>
          </a:p>
        </p:txBody>
      </p:sp>
      <p:pic>
        <p:nvPicPr>
          <p:cNvPr id="3" name="Picture Placeholder 2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" r="44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5007515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3057F08-FB94-4BC4-BB06-A605882E2DB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ZA"/>
              <a:t>Deliver value for the citizens</a:t>
            </a:r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7E1A96A-90D1-4F2E-97C8-B751D8F279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1139" y="330655"/>
            <a:ext cx="9841889" cy="468000"/>
          </a:xfrm>
        </p:spPr>
        <p:txBody>
          <a:bodyPr/>
          <a:lstStyle/>
          <a:p>
            <a:r>
              <a:rPr lang="en-ZA">
                <a:cs typeface="Arial"/>
              </a:rPr>
              <a:t>The role of governments?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3BD858E-AC9A-4D97-95C2-56ABD27633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4727" y="1784580"/>
            <a:ext cx="1948981" cy="199785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9212" y="1779902"/>
            <a:ext cx="1918345" cy="200253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3061" y="1784580"/>
            <a:ext cx="1889967" cy="200253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5417" y="4202019"/>
            <a:ext cx="2068291" cy="200253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9212" y="4149483"/>
            <a:ext cx="1953544" cy="200253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3491" y="4100673"/>
            <a:ext cx="1959537" cy="2002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24524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3057F08-FB94-4BC4-BB06-A605882E2DBA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ZA"/>
              <a:t>Preparing, financing and implementing infrastructure projects in Africa</a:t>
            </a:r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7E1A96A-90D1-4F2E-97C8-B751D8F279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Introduction TO DBS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3BD858E-AC9A-4D97-95C2-56ABD27633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6CA10A03-268C-40C6-A74E-66AD7258C7D2}"/>
              </a:ext>
            </a:extLst>
          </p:cNvPr>
          <p:cNvSpPr/>
          <p:nvPr/>
        </p:nvSpPr>
        <p:spPr>
          <a:xfrm>
            <a:off x="1445005" y="3932182"/>
            <a:ext cx="2160000" cy="2233668"/>
          </a:xfrm>
          <a:prstGeom prst="rect">
            <a:avLst/>
          </a:prstGeom>
          <a:solidFill>
            <a:schemeClr val="accent2"/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36000" tIns="10800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"/>
              </a:spcBef>
              <a:spcAft>
                <a:spcPts val="600"/>
              </a:spcAft>
              <a:defRPr/>
            </a:pPr>
            <a:r>
              <a:rPr lang="en-ZA" sz="1600" b="1" kern="0">
                <a:solidFill>
                  <a:schemeClr val="bg1"/>
                </a:solidFill>
              </a:rPr>
              <a:t>Externally </a:t>
            </a:r>
            <a:br>
              <a:rPr lang="en-ZA" sz="1600" b="1" kern="0">
                <a:solidFill>
                  <a:schemeClr val="bg1"/>
                </a:solidFill>
              </a:rPr>
            </a:br>
            <a:r>
              <a:rPr lang="en-ZA" sz="1600" b="1" kern="0">
                <a:solidFill>
                  <a:schemeClr val="bg1"/>
                </a:solidFill>
              </a:rPr>
              <a:t>rated</a:t>
            </a:r>
          </a:p>
          <a:p>
            <a:pPr algn="ctr">
              <a:spcBef>
                <a:spcPts val="100"/>
              </a:spcBef>
              <a:spcAft>
                <a:spcPts val="100"/>
              </a:spcAft>
              <a:defRPr/>
            </a:pPr>
            <a:endParaRPr lang="en-ZA" sz="1200" b="1" kern="0">
              <a:solidFill>
                <a:schemeClr val="bg1"/>
              </a:solidFill>
            </a:endParaRPr>
          </a:p>
          <a:p>
            <a:pPr algn="ctr">
              <a:spcBef>
                <a:spcPts val="100"/>
              </a:spcBef>
              <a:spcAft>
                <a:spcPts val="100"/>
              </a:spcAft>
              <a:defRPr/>
            </a:pPr>
            <a:r>
              <a:rPr lang="en-ZA" sz="1400" b="1" kern="0">
                <a:solidFill>
                  <a:schemeClr val="bg1"/>
                </a:solidFill>
              </a:rPr>
              <a:t>DBSA foreign</a:t>
            </a:r>
            <a:br>
              <a:rPr lang="en-ZA" sz="1400" b="1" kern="0">
                <a:solidFill>
                  <a:schemeClr val="bg1"/>
                </a:solidFill>
              </a:rPr>
            </a:br>
            <a:r>
              <a:rPr lang="en-ZA" sz="1400" b="1" kern="0">
                <a:solidFill>
                  <a:schemeClr val="bg1"/>
                </a:solidFill>
              </a:rPr>
              <a:t>currency rating is </a:t>
            </a:r>
          </a:p>
          <a:p>
            <a:pPr algn="ctr">
              <a:spcBef>
                <a:spcPts val="100"/>
              </a:spcBef>
              <a:spcAft>
                <a:spcPts val="100"/>
              </a:spcAft>
              <a:defRPr/>
            </a:pPr>
            <a:r>
              <a:rPr lang="en-ZA" sz="2800" b="1" kern="0">
                <a:solidFill>
                  <a:schemeClr val="bg1"/>
                </a:solidFill>
              </a:rPr>
              <a:t>Baa3</a:t>
            </a:r>
            <a:r>
              <a:rPr lang="en-ZA" sz="2400" b="1" kern="0">
                <a:solidFill>
                  <a:schemeClr val="bg1"/>
                </a:solidFill>
              </a:rPr>
              <a:t> </a:t>
            </a:r>
            <a:br>
              <a:rPr lang="en-ZA" sz="1400" b="1" kern="0">
                <a:solidFill>
                  <a:schemeClr val="bg1"/>
                </a:solidFill>
              </a:rPr>
            </a:br>
            <a:r>
              <a:rPr lang="en-ZA" sz="1400" b="1" kern="0">
                <a:solidFill>
                  <a:schemeClr val="bg1"/>
                </a:solidFill>
              </a:rPr>
              <a:t>(Moody’s)</a:t>
            </a:r>
            <a:endParaRPr lang="en-US" sz="1400" b="1" kern="0">
              <a:solidFill>
                <a:schemeClr val="bg1"/>
              </a:solidFill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2B5ED0F-D860-45DB-91E5-D65DCAD93E96}"/>
              </a:ext>
            </a:extLst>
          </p:cNvPr>
          <p:cNvCxnSpPr/>
          <p:nvPr/>
        </p:nvCxnSpPr>
        <p:spPr>
          <a:xfrm>
            <a:off x="1635472" y="4657807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9019F26A-7D12-45F4-8C87-6CFD66248411}"/>
              </a:ext>
            </a:extLst>
          </p:cNvPr>
          <p:cNvSpPr/>
          <p:nvPr/>
        </p:nvSpPr>
        <p:spPr>
          <a:xfrm>
            <a:off x="5016001" y="3932182"/>
            <a:ext cx="2160000" cy="2233668"/>
          </a:xfrm>
          <a:prstGeom prst="rect">
            <a:avLst/>
          </a:prstGeom>
          <a:solidFill>
            <a:schemeClr val="accent2"/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108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"/>
              </a:spcBef>
              <a:spcAft>
                <a:spcPts val="600"/>
              </a:spcAft>
              <a:defRPr/>
            </a:pPr>
            <a:r>
              <a:rPr lang="en-ZA" sz="1600" b="1" kern="0">
                <a:solidFill>
                  <a:schemeClr val="bg1"/>
                </a:solidFill>
              </a:rPr>
              <a:t>Well </a:t>
            </a:r>
            <a:br>
              <a:rPr lang="en-ZA" sz="1600" b="1" kern="0">
                <a:solidFill>
                  <a:schemeClr val="bg1"/>
                </a:solidFill>
              </a:rPr>
            </a:br>
            <a:r>
              <a:rPr lang="en-ZA" sz="1600" b="1" kern="0">
                <a:solidFill>
                  <a:schemeClr val="bg1"/>
                </a:solidFill>
              </a:rPr>
              <a:t>governed</a:t>
            </a:r>
          </a:p>
          <a:p>
            <a:pPr algn="ctr">
              <a:spcBef>
                <a:spcPts val="100"/>
              </a:spcBef>
              <a:defRPr/>
            </a:pPr>
            <a:endParaRPr lang="en-ZA" sz="1200" b="1" kern="0">
              <a:solidFill>
                <a:schemeClr val="bg1"/>
              </a:solidFill>
            </a:endParaRPr>
          </a:p>
          <a:p>
            <a:pPr algn="ctr">
              <a:spcBef>
                <a:spcPts val="100"/>
              </a:spcBef>
              <a:spcAft>
                <a:spcPts val="1800"/>
              </a:spcAft>
              <a:defRPr/>
            </a:pPr>
            <a:r>
              <a:rPr lang="en-ZA" sz="1400" b="1" kern="0">
                <a:solidFill>
                  <a:schemeClr val="bg1"/>
                </a:solidFill>
              </a:rPr>
              <a:t>Unqualified audits</a:t>
            </a:r>
          </a:p>
          <a:p>
            <a:pPr algn="ctr">
              <a:spcBef>
                <a:spcPts val="100"/>
              </a:spcBef>
              <a:spcAft>
                <a:spcPts val="600"/>
              </a:spcAft>
              <a:defRPr/>
            </a:pPr>
            <a:r>
              <a:rPr lang="en-ZA" sz="2800" b="1" kern="0">
                <a:solidFill>
                  <a:schemeClr val="bg1"/>
                </a:solidFill>
              </a:rPr>
              <a:t>A+ </a:t>
            </a:r>
            <a:r>
              <a:rPr lang="en-ZA" sz="1400" b="1" kern="0">
                <a:solidFill>
                  <a:schemeClr val="bg1"/>
                </a:solidFill>
              </a:rPr>
              <a:t>rating </a:t>
            </a:r>
            <a:br>
              <a:rPr lang="en-ZA" sz="1400" b="1" kern="0">
                <a:solidFill>
                  <a:schemeClr val="bg1"/>
                </a:solidFill>
              </a:rPr>
            </a:br>
            <a:r>
              <a:rPr lang="en-ZA" sz="1400" b="1" kern="0">
                <a:solidFill>
                  <a:schemeClr val="bg1"/>
                </a:solidFill>
              </a:rPr>
              <a:t>from AADFI PSGRS</a:t>
            </a:r>
            <a:endParaRPr lang="en-US" sz="1400" b="1" kern="0">
              <a:solidFill>
                <a:schemeClr val="bg1"/>
              </a:solidFill>
            </a:endParaRP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2CAD1166-D857-41E2-9E88-E19BFF431B83}"/>
              </a:ext>
            </a:extLst>
          </p:cNvPr>
          <p:cNvCxnSpPr/>
          <p:nvPr/>
        </p:nvCxnSpPr>
        <p:spPr>
          <a:xfrm>
            <a:off x="5187009" y="4669924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 72">
            <a:extLst>
              <a:ext uri="{FF2B5EF4-FFF2-40B4-BE49-F238E27FC236}">
                <a16:creationId xmlns:a16="http://schemas.microsoft.com/office/drawing/2014/main" id="{2A112DCD-B997-4C2C-ABA7-617CAE04C5A7}"/>
              </a:ext>
            </a:extLst>
          </p:cNvPr>
          <p:cNvSpPr/>
          <p:nvPr/>
        </p:nvSpPr>
        <p:spPr>
          <a:xfrm>
            <a:off x="8586995" y="3932182"/>
            <a:ext cx="2160000" cy="2233668"/>
          </a:xfrm>
          <a:prstGeom prst="rect">
            <a:avLst/>
          </a:prstGeom>
          <a:solidFill>
            <a:schemeClr val="accent2"/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108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00"/>
              </a:spcBef>
              <a:defRPr/>
            </a:pPr>
            <a:r>
              <a:rPr lang="en-ZA" sz="1600" b="1" kern="0">
                <a:solidFill>
                  <a:schemeClr val="bg1"/>
                </a:solidFill>
              </a:rPr>
              <a:t>Globally</a:t>
            </a:r>
            <a:br>
              <a:rPr lang="en-ZA" sz="1600" b="1" kern="0">
                <a:solidFill>
                  <a:schemeClr val="bg1"/>
                </a:solidFill>
              </a:rPr>
            </a:br>
            <a:r>
              <a:rPr lang="en-ZA" sz="1600" b="1" kern="0">
                <a:solidFill>
                  <a:schemeClr val="bg1"/>
                </a:solidFill>
              </a:rPr>
              <a:t>accredited</a:t>
            </a:r>
          </a:p>
          <a:p>
            <a:pPr algn="ctr">
              <a:spcBef>
                <a:spcPts val="100"/>
              </a:spcBef>
              <a:spcAft>
                <a:spcPts val="600"/>
              </a:spcAft>
              <a:defRPr/>
            </a:pPr>
            <a:endParaRPr lang="en-ZA" sz="1200" b="1" kern="0">
              <a:solidFill>
                <a:schemeClr val="bg1"/>
              </a:solidFill>
            </a:endParaRPr>
          </a:p>
          <a:p>
            <a:pPr algn="ctr">
              <a:spcBef>
                <a:spcPts val="600"/>
              </a:spcBef>
              <a:spcAft>
                <a:spcPts val="1200"/>
              </a:spcAft>
              <a:defRPr/>
            </a:pPr>
            <a:r>
              <a:rPr lang="en-ZA" sz="1400" b="1" kern="0">
                <a:solidFill>
                  <a:schemeClr val="bg1"/>
                </a:solidFill>
              </a:rPr>
              <a:t>Global Environmental</a:t>
            </a:r>
            <a:br>
              <a:rPr lang="en-ZA" sz="1400" b="1" kern="0">
                <a:solidFill>
                  <a:schemeClr val="bg1"/>
                </a:solidFill>
              </a:rPr>
            </a:br>
            <a:r>
              <a:rPr lang="en-ZA" sz="1400" b="1" kern="0">
                <a:solidFill>
                  <a:schemeClr val="bg1"/>
                </a:solidFill>
              </a:rPr>
              <a:t>Facility</a:t>
            </a:r>
          </a:p>
          <a:p>
            <a:pPr algn="ctr">
              <a:spcBef>
                <a:spcPts val="600"/>
              </a:spcBef>
              <a:defRPr/>
            </a:pPr>
            <a:r>
              <a:rPr lang="en-ZA" sz="1400" b="1" kern="0">
                <a:solidFill>
                  <a:schemeClr val="bg1"/>
                </a:solidFill>
              </a:rPr>
              <a:t>Green Climate Fund</a:t>
            </a:r>
            <a:br>
              <a:rPr lang="en-ZA" sz="1400" b="1" kern="0">
                <a:solidFill>
                  <a:schemeClr val="bg1"/>
                </a:solidFill>
              </a:rPr>
            </a:br>
            <a:r>
              <a:rPr lang="en-ZA" sz="1400" b="1" kern="0">
                <a:solidFill>
                  <a:schemeClr val="bg1"/>
                </a:solidFill>
              </a:rPr>
              <a:t>EU 6-pillar</a:t>
            </a:r>
            <a:endParaRPr lang="en-US" sz="1400" b="1" kern="0">
              <a:solidFill>
                <a:schemeClr val="bg1"/>
              </a:solidFill>
            </a:endParaRP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F2295BD4-B7AD-446A-9DBC-5194402579F7}"/>
              </a:ext>
            </a:extLst>
          </p:cNvPr>
          <p:cNvCxnSpPr/>
          <p:nvPr/>
        </p:nvCxnSpPr>
        <p:spPr>
          <a:xfrm>
            <a:off x="8768695" y="4669924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76E3872A-4C21-4AE2-84ED-60731196B0B7}"/>
              </a:ext>
            </a:extLst>
          </p:cNvPr>
          <p:cNvCxnSpPr/>
          <p:nvPr/>
        </p:nvCxnSpPr>
        <p:spPr>
          <a:xfrm>
            <a:off x="8768695" y="5429577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844D8BB-F4AE-48C4-A932-B83FCAF1976E}"/>
              </a:ext>
            </a:extLst>
          </p:cNvPr>
          <p:cNvCxnSpPr/>
          <p:nvPr/>
        </p:nvCxnSpPr>
        <p:spPr>
          <a:xfrm>
            <a:off x="665531" y="3770138"/>
            <a:ext cx="509990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AEF4258D-E098-46ED-8A87-E5CE89BE3C3D}"/>
              </a:ext>
            </a:extLst>
          </p:cNvPr>
          <p:cNvCxnSpPr/>
          <p:nvPr/>
        </p:nvCxnSpPr>
        <p:spPr>
          <a:xfrm>
            <a:off x="6430653" y="3770138"/>
            <a:ext cx="5099901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Oval 33">
            <a:extLst>
              <a:ext uri="{FF2B5EF4-FFF2-40B4-BE49-F238E27FC236}">
                <a16:creationId xmlns:a16="http://schemas.microsoft.com/office/drawing/2014/main" id="{5A076FA4-D46C-4EAB-A450-92D1E248CD38}"/>
              </a:ext>
            </a:extLst>
          </p:cNvPr>
          <p:cNvSpPr/>
          <p:nvPr/>
        </p:nvSpPr>
        <p:spPr>
          <a:xfrm>
            <a:off x="1445005" y="1529187"/>
            <a:ext cx="2160000" cy="1904801"/>
          </a:xfrm>
          <a:prstGeom prst="rect">
            <a:avLst/>
          </a:prstGeom>
          <a:solidFill>
            <a:srgbClr val="FBB040"/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en-ZA" sz="1400" b="1" kern="0">
                <a:solidFill>
                  <a:schemeClr val="tx2"/>
                </a:solidFill>
              </a:rPr>
              <a:t>Founded</a:t>
            </a:r>
            <a:br>
              <a:rPr lang="en-ZA" sz="1400" b="1" kern="0">
                <a:solidFill>
                  <a:schemeClr val="tx2"/>
                </a:solidFill>
              </a:rPr>
            </a:br>
            <a:r>
              <a:rPr kumimoji="0" lang="en-ZA" sz="28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1983</a:t>
            </a:r>
            <a:br>
              <a:rPr kumimoji="0" lang="en-ZA" sz="28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</a:br>
            <a:r>
              <a:rPr lang="en-US" sz="1400" b="1" kern="0">
                <a:solidFill>
                  <a:schemeClr val="tx2"/>
                </a:solidFill>
              </a:rPr>
              <a:t>DBSA</a:t>
            </a:r>
            <a:br>
              <a:rPr lang="en-US" sz="1400" b="1" kern="0">
                <a:solidFill>
                  <a:schemeClr val="tx2"/>
                </a:solidFill>
              </a:rPr>
            </a:br>
            <a:r>
              <a:rPr lang="en-US" sz="1400" b="1" kern="0">
                <a:solidFill>
                  <a:schemeClr val="tx2"/>
                </a:solidFill>
              </a:rPr>
              <a:t>Act 1997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A80F3D9-0C78-4E60-9AB3-04343D037FAF}"/>
              </a:ext>
            </a:extLst>
          </p:cNvPr>
          <p:cNvSpPr/>
          <p:nvPr/>
        </p:nvSpPr>
        <p:spPr>
          <a:xfrm>
            <a:off x="5016000" y="1529187"/>
            <a:ext cx="2160000" cy="1904801"/>
          </a:xfrm>
          <a:prstGeom prst="rect">
            <a:avLst/>
          </a:prstGeom>
          <a:solidFill>
            <a:srgbClr val="FBB040"/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Owned</a:t>
            </a:r>
          </a:p>
          <a:p>
            <a:pPr marL="0" marR="0" lvl="0" indent="0" algn="ctr" defTabSz="914400" eaLnBrk="1" fontAlgn="auto" latinLnBrk="0" hangingPunct="1"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100%</a:t>
            </a:r>
          </a:p>
          <a:p>
            <a:pPr marL="0" marR="0" lvl="0" indent="0" algn="ctr" defTabSz="914400" eaLnBrk="1" fontAlgn="auto" latinLnBrk="0" hangingPunct="1">
              <a:buClrTx/>
              <a:buSzTx/>
              <a:buFontTx/>
              <a:buNone/>
              <a:tabLst/>
              <a:defRPr/>
            </a:pPr>
            <a:r>
              <a:rPr kumimoji="0" lang="en-ZA" sz="14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by SA</a:t>
            </a:r>
            <a:br>
              <a:rPr kumimoji="0" lang="en-ZA" sz="14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ZA" sz="14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n-ea"/>
                <a:cs typeface="+mn-cs"/>
              </a:rPr>
              <a:t>Government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DFDD8D2-E658-4C62-B000-AE2911AAABC6}"/>
              </a:ext>
            </a:extLst>
          </p:cNvPr>
          <p:cNvSpPr/>
          <p:nvPr/>
        </p:nvSpPr>
        <p:spPr>
          <a:xfrm>
            <a:off x="8586995" y="1529187"/>
            <a:ext cx="2160000" cy="1904801"/>
          </a:xfrm>
          <a:prstGeom prst="rect">
            <a:avLst/>
          </a:prstGeom>
          <a:solidFill>
            <a:srgbClr val="FBB040"/>
          </a:solidFill>
          <a:ln w="381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Total assets</a:t>
            </a:r>
          </a:p>
          <a:p>
            <a:pPr algn="ctr">
              <a:defRPr/>
            </a:pPr>
            <a:r>
              <a:rPr lang="en-ZA" sz="2000" b="1" kern="0" dirty="0">
                <a:solidFill>
                  <a:schemeClr val="tx2"/>
                </a:solidFill>
              </a:rPr>
              <a:t>R100bn</a:t>
            </a:r>
            <a:endParaRPr lang="en-ZA" sz="20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cs typeface="Arial"/>
            </a:endParaRPr>
          </a:p>
          <a:p>
            <a:pPr algn="ctr">
              <a:defRPr/>
            </a:pPr>
            <a:r>
              <a:rPr lang="en-ZA" sz="2000" b="1" kern="0" dirty="0">
                <a:solidFill>
                  <a:schemeClr val="tx2"/>
                </a:solidFill>
              </a:rPr>
              <a:t>(US$6bn)</a:t>
            </a:r>
            <a:endParaRPr lang="en-ZA" sz="2000" b="1" kern="0" dirty="0">
              <a:solidFill>
                <a:schemeClr val="tx2"/>
              </a:solidFill>
              <a:cs typeface="Arial"/>
            </a:endParaRPr>
          </a:p>
          <a:p>
            <a:pPr algn="ctr">
              <a:defRPr/>
            </a:pPr>
            <a:endParaRPr kumimoji="0" lang="en-ZA" sz="200" b="1" i="0" u="none" strike="noStrike" kern="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  <a:p>
            <a:pPr algn="ctr">
              <a:defRPr/>
            </a:pPr>
            <a:r>
              <a:rPr lang="en-US" sz="1400" b="1" dirty="0">
                <a:solidFill>
                  <a:schemeClr val="tx2"/>
                </a:solidFill>
              </a:rPr>
              <a:t>Equity</a:t>
            </a:r>
            <a:br>
              <a:rPr lang="en-US" sz="1400" b="1" dirty="0"/>
            </a:br>
            <a:r>
              <a:rPr lang="en-US" sz="2000" b="1" dirty="0">
                <a:solidFill>
                  <a:schemeClr val="tx2"/>
                </a:solidFill>
              </a:rPr>
              <a:t>R35bn</a:t>
            </a:r>
            <a:endParaRPr lang="en-US" sz="2000" b="1" dirty="0">
              <a:solidFill>
                <a:schemeClr val="tx2"/>
              </a:solidFill>
              <a:cs typeface="Arial"/>
            </a:endParaRPr>
          </a:p>
          <a:p>
            <a:pPr algn="ctr">
              <a:defRPr/>
            </a:pPr>
            <a:r>
              <a:rPr lang="en-US" sz="2000" b="1" dirty="0">
                <a:solidFill>
                  <a:schemeClr val="tx2"/>
                </a:solidFill>
              </a:rPr>
              <a:t>(US$2.6bn)</a:t>
            </a:r>
            <a:endParaRPr lang="en-US" sz="2000" b="1" dirty="0">
              <a:solidFill>
                <a:schemeClr val="tx2"/>
              </a:solidFill>
              <a:cs typeface="Arial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695253B-F47E-45E4-91D0-93BACF65EEE6}"/>
              </a:ext>
            </a:extLst>
          </p:cNvPr>
          <p:cNvCxnSpPr/>
          <p:nvPr/>
        </p:nvCxnSpPr>
        <p:spPr>
          <a:xfrm>
            <a:off x="5187009" y="5179339"/>
            <a:ext cx="1802346" cy="0"/>
          </a:xfrm>
          <a:prstGeom prst="line">
            <a:avLst/>
          </a:prstGeom>
          <a:solidFill>
            <a:schemeClr val="bg2"/>
          </a:solidFill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0064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C7246D5-E125-4BEB-8DC7-43460113519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solidFill>
            <a:schemeClr val="accent1"/>
          </a:solidFill>
          <a:ln w="28575">
            <a:solidFill>
              <a:schemeClr val="accent1"/>
            </a:solidFill>
          </a:ln>
        </p:spPr>
        <p:txBody>
          <a:bodyPr anchor="ctr">
            <a:normAutofit/>
          </a:bodyPr>
          <a:lstStyle/>
          <a:p>
            <a:pPr algn="ctr"/>
            <a:r>
              <a:rPr lang="en-ZA">
                <a:solidFill>
                  <a:schemeClr val="tx2"/>
                </a:solidFill>
              </a:rPr>
              <a:t>Missio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BB01A8D-DDF0-4423-8448-44E633235D2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solidFill>
            <a:schemeClr val="accent1"/>
          </a:solidFill>
          <a:ln w="28575">
            <a:solidFill>
              <a:schemeClr val="accent1"/>
            </a:solidFill>
          </a:ln>
        </p:spPr>
        <p:txBody>
          <a:bodyPr anchor="ctr"/>
          <a:lstStyle/>
          <a:p>
            <a:pPr algn="ctr"/>
            <a:r>
              <a:rPr lang="en-ZA">
                <a:solidFill>
                  <a:schemeClr val="tx2"/>
                </a:solidFill>
              </a:rPr>
              <a:t>Strategic objectiv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3BD858E-AC9A-4D97-95C2-56ABD27633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3057F08-FB94-4BC4-BB06-A605882E2DB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ln w="28575">
            <a:solidFill>
              <a:schemeClr val="accent1"/>
            </a:solidFill>
          </a:ln>
        </p:spPr>
        <p:txBody>
          <a:bodyPr lIns="180000" tIns="216000" rIns="180000" bIns="72000"/>
          <a:lstStyle/>
          <a:p>
            <a:pPr>
              <a:spcBef>
                <a:spcPts val="1200"/>
              </a:spcBef>
              <a:spcAft>
                <a:spcPts val="600"/>
              </a:spcAft>
            </a:pPr>
            <a:r>
              <a:rPr lang="en-ZA">
                <a:solidFill>
                  <a:srgbClr val="301C16"/>
                </a:solidFill>
              </a:rPr>
              <a:t>Advance development impact in Africa by </a:t>
            </a:r>
            <a:r>
              <a:rPr lang="en-ZA" b="1">
                <a:solidFill>
                  <a:srgbClr val="301C16"/>
                </a:solidFill>
              </a:rPr>
              <a:t>expanding  access to development finance</a:t>
            </a:r>
            <a:r>
              <a:rPr lang="en-ZA">
                <a:solidFill>
                  <a:srgbClr val="301C16"/>
                </a:solidFill>
              </a:rPr>
              <a:t> and effectively </a:t>
            </a:r>
            <a:r>
              <a:rPr lang="en-ZA" b="1">
                <a:solidFill>
                  <a:srgbClr val="301C16"/>
                </a:solidFill>
              </a:rPr>
              <a:t>integrating and implementing sustainable development solutions </a:t>
            </a:r>
            <a:r>
              <a:rPr lang="en-ZA">
                <a:solidFill>
                  <a:srgbClr val="301C16"/>
                </a:solidFill>
              </a:rPr>
              <a:t>to:</a:t>
            </a:r>
          </a:p>
          <a:p>
            <a:pPr marL="359751" lvl="1" indent="-179388"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ZA">
                <a:solidFill>
                  <a:srgbClr val="301C16"/>
                </a:solidFill>
              </a:rPr>
              <a:t>Improve </a:t>
            </a:r>
            <a:r>
              <a:rPr lang="en-ZA" b="1">
                <a:solidFill>
                  <a:srgbClr val="301C16"/>
                </a:solidFill>
              </a:rPr>
              <a:t>quality of life </a:t>
            </a:r>
            <a:r>
              <a:rPr lang="en-ZA">
                <a:solidFill>
                  <a:srgbClr val="301C16"/>
                </a:solidFill>
              </a:rPr>
              <a:t>through the development of social infrastructure</a:t>
            </a:r>
          </a:p>
          <a:p>
            <a:pPr marL="359751" lvl="1" indent="-179388"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ZA">
                <a:solidFill>
                  <a:srgbClr val="301C16"/>
                </a:solidFill>
              </a:rPr>
              <a:t>Support </a:t>
            </a:r>
            <a:r>
              <a:rPr lang="en-ZA" b="1">
                <a:solidFill>
                  <a:srgbClr val="301C16"/>
                </a:solidFill>
              </a:rPr>
              <a:t>economic growth </a:t>
            </a:r>
            <a:r>
              <a:rPr lang="en-ZA">
                <a:solidFill>
                  <a:srgbClr val="301C16"/>
                </a:solidFill>
              </a:rPr>
              <a:t>through investment in economic infrastructure</a:t>
            </a:r>
          </a:p>
          <a:p>
            <a:pPr marL="359751" lvl="1" indent="-179388"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ZA">
                <a:solidFill>
                  <a:srgbClr val="301C16"/>
                </a:solidFill>
              </a:rPr>
              <a:t>Support </a:t>
            </a:r>
            <a:r>
              <a:rPr lang="en-ZA" b="1">
                <a:solidFill>
                  <a:srgbClr val="301C16"/>
                </a:solidFill>
              </a:rPr>
              <a:t>regional integration</a:t>
            </a:r>
          </a:p>
          <a:p>
            <a:pPr marL="359751" lvl="1" indent="-179388">
              <a:spcBef>
                <a:spcPts val="12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en-ZA">
                <a:solidFill>
                  <a:srgbClr val="301C16"/>
                </a:solidFill>
              </a:rPr>
              <a:t>Promote </a:t>
            </a:r>
            <a:r>
              <a:rPr lang="en-ZA" b="1">
                <a:solidFill>
                  <a:srgbClr val="301C16"/>
                </a:solidFill>
              </a:rPr>
              <a:t>sustainable</a:t>
            </a:r>
            <a:r>
              <a:rPr lang="en-ZA">
                <a:solidFill>
                  <a:srgbClr val="301C16"/>
                </a:solidFill>
              </a:rPr>
              <a:t> use of scarce resources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1A96445-56FD-4389-BA36-41D0EF2447A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ln w="28575">
            <a:solidFill>
              <a:schemeClr val="accent1"/>
            </a:solidFill>
          </a:ln>
        </p:spPr>
        <p:txBody>
          <a:bodyPr lIns="180000" tIns="216000" rIns="180000" bIns="72000"/>
          <a:lstStyle/>
          <a:p>
            <a:pPr marL="179388" indent="-179388">
              <a:spcBef>
                <a:spcPts val="1200"/>
              </a:spcBef>
              <a:spcAft>
                <a:spcPts val="1200"/>
              </a:spcAft>
            </a:pPr>
            <a:r>
              <a:rPr lang="en-ZA">
                <a:solidFill>
                  <a:srgbClr val="301C16"/>
                </a:solidFill>
              </a:rPr>
              <a:t>Sustained growth in developmental impact –  aggressively grow businesses to </a:t>
            </a:r>
            <a:r>
              <a:rPr lang="en-ZA" b="1">
                <a:solidFill>
                  <a:srgbClr val="301C16"/>
                </a:solidFill>
              </a:rPr>
              <a:t>maximise developmental impact </a:t>
            </a:r>
          </a:p>
          <a:p>
            <a:pPr marL="179388" indent="-179388">
              <a:spcBef>
                <a:spcPts val="1200"/>
              </a:spcBef>
              <a:spcAft>
                <a:spcPts val="1200"/>
              </a:spcAft>
            </a:pPr>
            <a:r>
              <a:rPr lang="en-ZA" b="1">
                <a:solidFill>
                  <a:srgbClr val="301C16"/>
                </a:solidFill>
              </a:rPr>
              <a:t>Integrated infrastructure solutions</a:t>
            </a:r>
            <a:r>
              <a:rPr lang="en-ZA">
                <a:solidFill>
                  <a:srgbClr val="301C16"/>
                </a:solidFill>
              </a:rPr>
              <a:t> provider across value chain – partner of choice </a:t>
            </a:r>
          </a:p>
          <a:p>
            <a:pPr marL="179388" indent="-179388">
              <a:spcBef>
                <a:spcPts val="1200"/>
              </a:spcBef>
              <a:spcAft>
                <a:spcPts val="1200"/>
              </a:spcAft>
            </a:pPr>
            <a:r>
              <a:rPr lang="en-ZA" b="1">
                <a:solidFill>
                  <a:srgbClr val="301C16"/>
                </a:solidFill>
              </a:rPr>
              <a:t>Financial sustainability </a:t>
            </a:r>
            <a:r>
              <a:rPr lang="en-ZA">
                <a:solidFill>
                  <a:srgbClr val="301C16"/>
                </a:solidFill>
              </a:rPr>
              <a:t>– maintain profitability and operational efficiency to enable growth in equity and fund developmental activities </a:t>
            </a:r>
          </a:p>
          <a:p>
            <a:pPr marL="179388" indent="-179388">
              <a:spcBef>
                <a:spcPts val="1200"/>
              </a:spcBef>
              <a:spcAft>
                <a:spcPts val="1200"/>
              </a:spcAft>
            </a:pPr>
            <a:r>
              <a:rPr lang="en-ZA">
                <a:solidFill>
                  <a:srgbClr val="301C16"/>
                </a:solidFill>
              </a:rPr>
              <a:t>Sustainability </a:t>
            </a:r>
            <a:r>
              <a:rPr lang="en-ZA" b="1">
                <a:solidFill>
                  <a:srgbClr val="301C16"/>
                </a:solidFill>
              </a:rPr>
              <a:t>innovations </a:t>
            </a:r>
          </a:p>
          <a:p>
            <a:pPr algn="ctr"/>
            <a:endParaRPr lang="en-ZA" b="1">
              <a:solidFill>
                <a:srgbClr val="301C16"/>
              </a:solidFill>
            </a:endParaRPr>
          </a:p>
          <a:p>
            <a:endParaRPr lang="en-ZA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97E1A96A-90D1-4F2E-97C8-B751D8F279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/>
              <a:t>Introductio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037FE142-9096-475D-9D5C-B53D20EB70D1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ZA"/>
              <a:t>Preparing, financing and implementing infrastructure projects in sub-Saharan Africa</a:t>
            </a:r>
          </a:p>
        </p:txBody>
      </p:sp>
    </p:spTree>
    <p:extLst>
      <p:ext uri="{BB962C8B-B14F-4D97-AF65-F5344CB8AC3E}">
        <p14:creationId xmlns:p14="http://schemas.microsoft.com/office/powerpoint/2010/main" val="19638090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B3B3BDB-5380-45EE-B3F4-C75096C4B34D}"/>
              </a:ext>
            </a:extLst>
          </p:cNvPr>
          <p:cNvSpPr/>
          <p:nvPr/>
        </p:nvSpPr>
        <p:spPr>
          <a:xfrm>
            <a:off x="556618" y="3819361"/>
            <a:ext cx="11084519" cy="37471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ZA" sz="1400" b="1">
                <a:solidFill>
                  <a:schemeClr val="tx2"/>
                </a:solidFill>
              </a:rPr>
              <a:t>Clients</a:t>
            </a:r>
          </a:p>
        </p:txBody>
      </p:sp>
      <p:sp>
        <p:nvSpPr>
          <p:cNvPr id="7" name="Content Placeholder 11">
            <a:extLst>
              <a:ext uri="{FF2B5EF4-FFF2-40B4-BE49-F238E27FC236}">
                <a16:creationId xmlns:a16="http://schemas.microsoft.com/office/drawing/2014/main" id="{20CBC19A-3C30-41D4-B869-7A41931550B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56619" y="1885236"/>
            <a:ext cx="1800000" cy="1780123"/>
          </a:xfrm>
          <a:noFill/>
        </p:spPr>
        <p:txBody>
          <a:bodyPr lIns="36000" tIns="108000" rIns="36000" bIns="36000">
            <a:noAutofit/>
          </a:bodyPr>
          <a:lstStyle/>
          <a:p>
            <a:pPr marL="144000" indent="-144000">
              <a:buClr>
                <a:schemeClr val="tx2"/>
              </a:buClr>
            </a:pPr>
            <a:r>
              <a:rPr lang="en-ZA" sz="1100" b="1"/>
              <a:t>Municipal assessments</a:t>
            </a:r>
          </a:p>
          <a:p>
            <a:pPr marL="144000" indent="-144000">
              <a:buClr>
                <a:schemeClr val="tx2"/>
              </a:buClr>
            </a:pPr>
            <a:r>
              <a:rPr lang="en-ZA" sz="1100" b="1"/>
              <a:t>Bulk infrastructure plans</a:t>
            </a:r>
          </a:p>
          <a:p>
            <a:pPr marL="144000" indent="-144000">
              <a:buClr>
                <a:schemeClr val="tx2"/>
              </a:buClr>
            </a:pPr>
            <a:r>
              <a:rPr lang="en-ZA" sz="1100" b="1"/>
              <a:t>Infrastructure planning advice</a:t>
            </a:r>
          </a:p>
          <a:p>
            <a:pPr marL="0" indent="0">
              <a:buClr>
                <a:schemeClr val="tx2"/>
              </a:buClr>
              <a:buNone/>
            </a:pPr>
            <a:endParaRPr lang="en-ZA" sz="1100" b="1"/>
          </a:p>
        </p:txBody>
      </p:sp>
      <p:sp>
        <p:nvSpPr>
          <p:cNvPr id="8" name="Content Placeholder 11">
            <a:extLst>
              <a:ext uri="{FF2B5EF4-FFF2-40B4-BE49-F238E27FC236}">
                <a16:creationId xmlns:a16="http://schemas.microsoft.com/office/drawing/2014/main" id="{378ADF2E-E430-4DE3-8332-087ED523D791}"/>
              </a:ext>
            </a:extLst>
          </p:cNvPr>
          <p:cNvSpPr txBox="1">
            <a:spLocks/>
          </p:cNvSpPr>
          <p:nvPr/>
        </p:nvSpPr>
        <p:spPr>
          <a:xfrm>
            <a:off x="2876310" y="1881426"/>
            <a:ext cx="1800000" cy="1780123"/>
          </a:xfrm>
          <a:prstGeom prst="rect">
            <a:avLst/>
          </a:prstGeom>
          <a:noFill/>
        </p:spPr>
        <p:txBody>
          <a:bodyPr vert="horz" lIns="36000" tIns="108000" rIns="36000" bIns="36000" rtlCol="0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41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825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7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indent="-1440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100" b="1">
                <a:solidFill>
                  <a:schemeClr val="tx2"/>
                </a:solidFill>
              </a:rPr>
              <a:t>Project identification</a:t>
            </a:r>
          </a:p>
          <a:p>
            <a:pPr marL="144000" indent="-1440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100" b="1">
                <a:solidFill>
                  <a:schemeClr val="tx2"/>
                </a:solidFill>
              </a:rPr>
              <a:t>Feasibility assessments</a:t>
            </a:r>
          </a:p>
          <a:p>
            <a:pPr marL="144000" indent="-1440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100" b="1">
                <a:solidFill>
                  <a:schemeClr val="tx2"/>
                </a:solidFill>
              </a:rPr>
              <a:t>Technical assistance</a:t>
            </a:r>
          </a:p>
          <a:p>
            <a:pPr marL="144000" indent="-1440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100" b="1">
                <a:solidFill>
                  <a:schemeClr val="tx2"/>
                </a:solidFill>
              </a:rPr>
              <a:t>Programme development</a:t>
            </a:r>
          </a:p>
          <a:p>
            <a:pPr marL="144000" indent="-1440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100" b="1">
                <a:solidFill>
                  <a:schemeClr val="tx2"/>
                </a:solidFill>
              </a:rPr>
              <a:t>Project preparation funds</a:t>
            </a:r>
          </a:p>
          <a:p>
            <a:pPr marL="144000" indent="-144000"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en-ZA" sz="1100" b="1">
              <a:solidFill>
                <a:schemeClr val="tx2"/>
              </a:solidFill>
            </a:endParaRPr>
          </a:p>
        </p:txBody>
      </p:sp>
      <p:sp>
        <p:nvSpPr>
          <p:cNvPr id="9" name="Content Placeholder 11">
            <a:extLst>
              <a:ext uri="{FF2B5EF4-FFF2-40B4-BE49-F238E27FC236}">
                <a16:creationId xmlns:a16="http://schemas.microsoft.com/office/drawing/2014/main" id="{655DBEE6-77F9-4A29-A75F-94431E0076D6}"/>
              </a:ext>
            </a:extLst>
          </p:cNvPr>
          <p:cNvSpPr txBox="1">
            <a:spLocks/>
          </p:cNvSpPr>
          <p:nvPr/>
        </p:nvSpPr>
        <p:spPr>
          <a:xfrm>
            <a:off x="5196001" y="1881426"/>
            <a:ext cx="1800000" cy="1780123"/>
          </a:xfrm>
          <a:prstGeom prst="rect">
            <a:avLst/>
          </a:prstGeom>
          <a:noFill/>
        </p:spPr>
        <p:txBody>
          <a:bodyPr vert="horz" lIns="36000" tIns="108000" rIns="36000" bIns="36000" rtlCol="0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41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825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7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indent="-14400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100" b="1">
                <a:solidFill>
                  <a:schemeClr val="tx2"/>
                </a:solidFill>
              </a:rPr>
              <a:t>Long-term senior and subordinated debt</a:t>
            </a:r>
          </a:p>
          <a:p>
            <a:pPr marL="144000" indent="-14400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100" b="1">
                <a:solidFill>
                  <a:schemeClr val="tx2"/>
                </a:solidFill>
              </a:rPr>
              <a:t>Corporate and project finance</a:t>
            </a:r>
          </a:p>
          <a:p>
            <a:pPr marL="144000" indent="-14400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100" b="1">
                <a:solidFill>
                  <a:schemeClr val="tx2"/>
                </a:solidFill>
              </a:rPr>
              <a:t>Mezzanine finance</a:t>
            </a:r>
          </a:p>
          <a:p>
            <a:pPr marL="144000" indent="-144000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100" b="1">
                <a:solidFill>
                  <a:schemeClr val="tx2"/>
                </a:solidFill>
              </a:rPr>
              <a:t>Structured financing solutions</a:t>
            </a:r>
          </a:p>
        </p:txBody>
      </p:sp>
      <p:sp>
        <p:nvSpPr>
          <p:cNvPr id="10" name="Content Placeholder 11">
            <a:extLst>
              <a:ext uri="{FF2B5EF4-FFF2-40B4-BE49-F238E27FC236}">
                <a16:creationId xmlns:a16="http://schemas.microsoft.com/office/drawing/2014/main" id="{CF1B7275-3EA3-427E-BFCF-C516EAAE4BCE}"/>
              </a:ext>
            </a:extLst>
          </p:cNvPr>
          <p:cNvSpPr txBox="1">
            <a:spLocks/>
          </p:cNvSpPr>
          <p:nvPr/>
        </p:nvSpPr>
        <p:spPr>
          <a:xfrm>
            <a:off x="7515692" y="1881426"/>
            <a:ext cx="1800000" cy="1780123"/>
          </a:xfrm>
          <a:prstGeom prst="rect">
            <a:avLst/>
          </a:prstGeom>
          <a:noFill/>
        </p:spPr>
        <p:txBody>
          <a:bodyPr vert="horz" lIns="36000" tIns="108000" rIns="36000" bIns="36000" rtlCol="0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41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825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7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indent="-1440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100" b="1">
                <a:solidFill>
                  <a:schemeClr val="tx2"/>
                </a:solidFill>
              </a:rPr>
              <a:t>Managing design and construction of projects in education, health and housing sectors</a:t>
            </a:r>
          </a:p>
          <a:p>
            <a:pPr marL="144000" indent="-1440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US" sz="1100" b="1">
                <a:solidFill>
                  <a:schemeClr val="tx2"/>
                </a:solidFill>
              </a:rPr>
              <a:t>Project management support</a:t>
            </a:r>
          </a:p>
        </p:txBody>
      </p:sp>
      <p:sp>
        <p:nvSpPr>
          <p:cNvPr id="11" name="Content Placeholder 11">
            <a:extLst>
              <a:ext uri="{FF2B5EF4-FFF2-40B4-BE49-F238E27FC236}">
                <a16:creationId xmlns:a16="http://schemas.microsoft.com/office/drawing/2014/main" id="{E795A744-1587-45C1-A50B-B6B07C7FE797}"/>
              </a:ext>
            </a:extLst>
          </p:cNvPr>
          <p:cNvSpPr txBox="1">
            <a:spLocks/>
          </p:cNvSpPr>
          <p:nvPr/>
        </p:nvSpPr>
        <p:spPr>
          <a:xfrm>
            <a:off x="9835380" y="1881426"/>
            <a:ext cx="2019921" cy="1780123"/>
          </a:xfrm>
          <a:prstGeom prst="rect">
            <a:avLst/>
          </a:prstGeom>
          <a:noFill/>
        </p:spPr>
        <p:txBody>
          <a:bodyPr vert="horz" lIns="36000" tIns="108000" rIns="36000" bIns="36000" rtlCol="0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41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825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7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indent="-144000"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ZA" sz="1100" b="1">
                <a:solidFill>
                  <a:schemeClr val="tx2"/>
                </a:solidFill>
              </a:rPr>
              <a:t>Supporting maintenance/ improvement of social infrastructure projec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4D4EB4D-E8A4-476F-B5F5-76DCF540F5DA}"/>
              </a:ext>
            </a:extLst>
          </p:cNvPr>
          <p:cNvSpPr/>
          <p:nvPr/>
        </p:nvSpPr>
        <p:spPr>
          <a:xfrm>
            <a:off x="556619" y="1526545"/>
            <a:ext cx="180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ZA" sz="1600" b="1">
                <a:solidFill>
                  <a:schemeClr val="tx2"/>
                </a:solidFill>
              </a:rPr>
              <a:t>1. Plan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81D88ED-36D0-44AE-805C-A90935A57C83}"/>
              </a:ext>
            </a:extLst>
          </p:cNvPr>
          <p:cNvSpPr/>
          <p:nvPr/>
        </p:nvSpPr>
        <p:spPr>
          <a:xfrm>
            <a:off x="2876309" y="1526545"/>
            <a:ext cx="180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ZA" sz="1600" b="1">
                <a:solidFill>
                  <a:schemeClr val="accent1">
                    <a:lumMod val="75000"/>
                  </a:schemeClr>
                </a:solidFill>
              </a:rPr>
              <a:t>2. Prepar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1B9781-8852-4483-A2CB-ECB224DF43D3}"/>
              </a:ext>
            </a:extLst>
          </p:cNvPr>
          <p:cNvSpPr/>
          <p:nvPr/>
        </p:nvSpPr>
        <p:spPr>
          <a:xfrm>
            <a:off x="5195999" y="1526545"/>
            <a:ext cx="180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ZA" sz="1600" b="1">
                <a:solidFill>
                  <a:schemeClr val="accent2"/>
                </a:solidFill>
              </a:rPr>
              <a:t>3. Financ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2D1E258-78B5-411D-AA2F-4F134A2D86BE}"/>
              </a:ext>
            </a:extLst>
          </p:cNvPr>
          <p:cNvSpPr/>
          <p:nvPr/>
        </p:nvSpPr>
        <p:spPr>
          <a:xfrm>
            <a:off x="7515689" y="1526545"/>
            <a:ext cx="180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ZA" sz="1600" b="1">
                <a:solidFill>
                  <a:schemeClr val="accent1">
                    <a:lumMod val="75000"/>
                  </a:schemeClr>
                </a:solidFill>
              </a:rPr>
              <a:t>4. Build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3F3B6E8-6658-469A-AD70-95FBADB7AC9C}"/>
              </a:ext>
            </a:extLst>
          </p:cNvPr>
          <p:cNvSpPr/>
          <p:nvPr/>
        </p:nvSpPr>
        <p:spPr>
          <a:xfrm>
            <a:off x="9835381" y="1526545"/>
            <a:ext cx="1800000" cy="36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ZA" sz="1600" b="1">
                <a:solidFill>
                  <a:schemeClr val="tx2"/>
                </a:solidFill>
              </a:rPr>
              <a:t>5. Maintai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8CDF115-2841-D241-A9C3-DA5FABB4141D}"/>
              </a:ext>
            </a:extLst>
          </p:cNvPr>
          <p:cNvSpPr/>
          <p:nvPr/>
        </p:nvSpPr>
        <p:spPr>
          <a:xfrm>
            <a:off x="4114603" y="4615409"/>
            <a:ext cx="1981200" cy="914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marR="0" lvl="0" indent="-17145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>
                <a:srgbClr val="D4711A"/>
              </a:buClr>
              <a:buSzTx/>
              <a:buFont typeface="Arial" panose="020B0604020202020204" pitchFamily="34" charset="0"/>
              <a:buChar char="●"/>
              <a:tabLst/>
              <a:defRPr/>
            </a:pPr>
            <a:endParaRPr kumimoji="0" lang="en-ZA" sz="1200" b="0" i="0" u="none" strike="noStrike" kern="0" cap="none" spc="0" normalizeH="0" baseline="0" noProof="0">
              <a:ln>
                <a:noFill/>
              </a:ln>
              <a:solidFill>
                <a:srgbClr val="47474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Content Placeholder 11">
            <a:extLst>
              <a:ext uri="{FF2B5EF4-FFF2-40B4-BE49-F238E27FC236}">
                <a16:creationId xmlns:a16="http://schemas.microsoft.com/office/drawing/2014/main" id="{E2A334D0-F6E6-45E9-B588-EE9E08656D18}"/>
              </a:ext>
            </a:extLst>
          </p:cNvPr>
          <p:cNvSpPr txBox="1">
            <a:spLocks/>
          </p:cNvSpPr>
          <p:nvPr/>
        </p:nvSpPr>
        <p:spPr>
          <a:xfrm>
            <a:off x="2818961" y="4297160"/>
            <a:ext cx="2288043" cy="13621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41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825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7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en-US" sz="1600" b="1">
                <a:solidFill>
                  <a:schemeClr val="accent2"/>
                </a:solidFill>
              </a:rPr>
              <a:t>Public</a:t>
            </a:r>
          </a:p>
          <a:p>
            <a:pPr marL="144000" indent="-144000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200" b="1">
                <a:solidFill>
                  <a:schemeClr val="accent2"/>
                </a:solidFill>
              </a:rPr>
              <a:t>Municipalities</a:t>
            </a:r>
          </a:p>
          <a:p>
            <a:pPr marL="144000" indent="-144000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200" b="1">
                <a:solidFill>
                  <a:schemeClr val="accent2"/>
                </a:solidFill>
              </a:rPr>
              <a:t>SOEs</a:t>
            </a:r>
          </a:p>
          <a:p>
            <a:pPr marL="144000" indent="-144000"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sz="1200" b="1">
                <a:solidFill>
                  <a:srgbClr val="E24F25"/>
                </a:solidFill>
              </a:rPr>
              <a:t>Sovereigns</a:t>
            </a:r>
          </a:p>
          <a:p>
            <a:pPr>
              <a:spcBef>
                <a:spcPts val="300"/>
              </a:spcBef>
            </a:pPr>
            <a:endParaRPr lang="en-ZA" sz="1100" b="1">
              <a:solidFill>
                <a:schemeClr val="accent2"/>
              </a:solidFill>
            </a:endParaRPr>
          </a:p>
        </p:txBody>
      </p:sp>
      <p:sp>
        <p:nvSpPr>
          <p:cNvPr id="19" name="Content Placeholder 11">
            <a:extLst>
              <a:ext uri="{FF2B5EF4-FFF2-40B4-BE49-F238E27FC236}">
                <a16:creationId xmlns:a16="http://schemas.microsoft.com/office/drawing/2014/main" id="{F3E604F6-C565-4D7F-9041-00B442F1A919}"/>
              </a:ext>
            </a:extLst>
          </p:cNvPr>
          <p:cNvSpPr txBox="1">
            <a:spLocks/>
          </p:cNvSpPr>
          <p:nvPr/>
        </p:nvSpPr>
        <p:spPr>
          <a:xfrm>
            <a:off x="7515692" y="4297160"/>
            <a:ext cx="2616605" cy="13621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76213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841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1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8256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6213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7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300"/>
              </a:spcBef>
              <a:spcAft>
                <a:spcPts val="600"/>
              </a:spcAft>
              <a:buNone/>
            </a:pPr>
            <a:r>
              <a:rPr lang="en-US" sz="1700" b="1">
                <a:solidFill>
                  <a:schemeClr val="tx2"/>
                </a:solidFill>
              </a:rPr>
              <a:t>Private</a:t>
            </a:r>
          </a:p>
          <a:p>
            <a:pPr marL="144000" indent="-144000"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b="1">
                <a:solidFill>
                  <a:schemeClr val="tx2"/>
                </a:solidFill>
              </a:rPr>
              <a:t>PPPs</a:t>
            </a:r>
          </a:p>
          <a:p>
            <a:pPr marL="144000" indent="-144000"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200" b="1">
                <a:solidFill>
                  <a:schemeClr val="tx2"/>
                </a:solidFill>
              </a:rPr>
              <a:t>Private sector</a:t>
            </a:r>
            <a:endParaRPr lang="en-ZA" sz="1200" b="1">
              <a:solidFill>
                <a:schemeClr val="tx2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3208DC2-BCE1-4D74-9CC8-FBCCEEF94C3A}"/>
              </a:ext>
            </a:extLst>
          </p:cNvPr>
          <p:cNvGrpSpPr/>
          <p:nvPr/>
        </p:nvGrpSpPr>
        <p:grpSpPr>
          <a:xfrm>
            <a:off x="4840022" y="3481518"/>
            <a:ext cx="2511957" cy="2822119"/>
            <a:chOff x="5561395" y="3776199"/>
            <a:chExt cx="2511957" cy="2822119"/>
          </a:xfrm>
          <a:solidFill>
            <a:schemeClr val="accent3"/>
          </a:solidFill>
        </p:grpSpPr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961B5A4B-6D2D-4BA5-B5E1-0AE671816645}"/>
                </a:ext>
              </a:extLst>
            </p:cNvPr>
            <p:cNvSpPr>
              <a:spLocks/>
            </p:cNvSpPr>
            <p:nvPr/>
          </p:nvSpPr>
          <p:spPr bwMode="gray">
            <a:xfrm>
              <a:off x="5883631" y="3783628"/>
              <a:ext cx="751265" cy="736407"/>
            </a:xfrm>
            <a:custGeom>
              <a:avLst/>
              <a:gdLst>
                <a:gd name="T0" fmla="*/ 223 w 809"/>
                <a:gd name="T1" fmla="*/ 239 h 793"/>
                <a:gd name="T2" fmla="*/ 249 w 809"/>
                <a:gd name="T3" fmla="*/ 224 h 793"/>
                <a:gd name="T4" fmla="*/ 292 w 809"/>
                <a:gd name="T5" fmla="*/ 224 h 793"/>
                <a:gd name="T6" fmla="*/ 292 w 809"/>
                <a:gd name="T7" fmla="*/ 217 h 793"/>
                <a:gd name="T8" fmla="*/ 284 w 809"/>
                <a:gd name="T9" fmla="*/ 198 h 793"/>
                <a:gd name="T10" fmla="*/ 284 w 809"/>
                <a:gd name="T11" fmla="*/ 187 h 793"/>
                <a:gd name="T12" fmla="*/ 275 w 809"/>
                <a:gd name="T13" fmla="*/ 158 h 793"/>
                <a:gd name="T14" fmla="*/ 275 w 809"/>
                <a:gd name="T15" fmla="*/ 136 h 793"/>
                <a:gd name="T16" fmla="*/ 275 w 809"/>
                <a:gd name="T17" fmla="*/ 118 h 793"/>
                <a:gd name="T18" fmla="*/ 271 w 809"/>
                <a:gd name="T19" fmla="*/ 108 h 793"/>
                <a:gd name="T20" fmla="*/ 271 w 809"/>
                <a:gd name="T21" fmla="*/ 92 h 793"/>
                <a:gd name="T22" fmla="*/ 301 w 809"/>
                <a:gd name="T23" fmla="*/ 65 h 793"/>
                <a:gd name="T24" fmla="*/ 313 w 809"/>
                <a:gd name="T25" fmla="*/ 65 h 793"/>
                <a:gd name="T26" fmla="*/ 334 w 809"/>
                <a:gd name="T27" fmla="*/ 62 h 793"/>
                <a:gd name="T28" fmla="*/ 386 w 809"/>
                <a:gd name="T29" fmla="*/ 25 h 793"/>
                <a:gd name="T30" fmla="*/ 440 w 809"/>
                <a:gd name="T31" fmla="*/ 25 h 793"/>
                <a:gd name="T32" fmla="*/ 477 w 809"/>
                <a:gd name="T33" fmla="*/ 16 h 793"/>
                <a:gd name="T34" fmla="*/ 525 w 809"/>
                <a:gd name="T35" fmla="*/ 7 h 793"/>
                <a:gd name="T36" fmla="*/ 564 w 809"/>
                <a:gd name="T37" fmla="*/ 12 h 793"/>
                <a:gd name="T38" fmla="*/ 585 w 809"/>
                <a:gd name="T39" fmla="*/ 2 h 793"/>
                <a:gd name="T40" fmla="*/ 597 w 809"/>
                <a:gd name="T41" fmla="*/ 7 h 793"/>
                <a:gd name="T42" fmla="*/ 621 w 809"/>
                <a:gd name="T43" fmla="*/ 7 h 793"/>
                <a:gd name="T44" fmla="*/ 625 w 809"/>
                <a:gd name="T45" fmla="*/ 0 h 793"/>
                <a:gd name="T46" fmla="*/ 651 w 809"/>
                <a:gd name="T47" fmla="*/ 12 h 793"/>
                <a:gd name="T48" fmla="*/ 676 w 809"/>
                <a:gd name="T49" fmla="*/ 7 h 793"/>
                <a:gd name="T50" fmla="*/ 658 w 809"/>
                <a:gd name="T51" fmla="*/ 25 h 793"/>
                <a:gd name="T52" fmla="*/ 664 w 809"/>
                <a:gd name="T53" fmla="*/ 55 h 793"/>
                <a:gd name="T54" fmla="*/ 667 w 809"/>
                <a:gd name="T55" fmla="*/ 78 h 793"/>
                <a:gd name="T56" fmla="*/ 664 w 809"/>
                <a:gd name="T57" fmla="*/ 115 h 793"/>
                <a:gd name="T58" fmla="*/ 646 w 809"/>
                <a:gd name="T59" fmla="*/ 131 h 793"/>
                <a:gd name="T60" fmla="*/ 634 w 809"/>
                <a:gd name="T61" fmla="*/ 146 h 793"/>
                <a:gd name="T62" fmla="*/ 658 w 809"/>
                <a:gd name="T63" fmla="*/ 180 h 793"/>
                <a:gd name="T64" fmla="*/ 667 w 809"/>
                <a:gd name="T65" fmla="*/ 208 h 793"/>
                <a:gd name="T66" fmla="*/ 715 w 809"/>
                <a:gd name="T67" fmla="*/ 311 h 793"/>
                <a:gd name="T68" fmla="*/ 719 w 809"/>
                <a:gd name="T69" fmla="*/ 336 h 793"/>
                <a:gd name="T70" fmla="*/ 724 w 809"/>
                <a:gd name="T71" fmla="*/ 398 h 793"/>
                <a:gd name="T72" fmla="*/ 719 w 809"/>
                <a:gd name="T73" fmla="*/ 438 h 793"/>
                <a:gd name="T74" fmla="*/ 727 w 809"/>
                <a:gd name="T75" fmla="*/ 461 h 793"/>
                <a:gd name="T76" fmla="*/ 712 w 809"/>
                <a:gd name="T77" fmla="*/ 479 h 793"/>
                <a:gd name="T78" fmla="*/ 734 w 809"/>
                <a:gd name="T79" fmla="*/ 523 h 793"/>
                <a:gd name="T80" fmla="*/ 742 w 809"/>
                <a:gd name="T81" fmla="*/ 550 h 793"/>
                <a:gd name="T82" fmla="*/ 748 w 809"/>
                <a:gd name="T83" fmla="*/ 563 h 793"/>
                <a:gd name="T84" fmla="*/ 794 w 809"/>
                <a:gd name="T85" fmla="*/ 566 h 793"/>
                <a:gd name="T86" fmla="*/ 634 w 809"/>
                <a:gd name="T87" fmla="*/ 716 h 793"/>
                <a:gd name="T88" fmla="*/ 507 w 809"/>
                <a:gd name="T89" fmla="*/ 787 h 793"/>
                <a:gd name="T90" fmla="*/ 461 w 809"/>
                <a:gd name="T91" fmla="*/ 787 h 793"/>
                <a:gd name="T92" fmla="*/ 465 w 809"/>
                <a:gd name="T93" fmla="*/ 758 h 793"/>
                <a:gd name="T94" fmla="*/ 425 w 809"/>
                <a:gd name="T95" fmla="*/ 740 h 793"/>
                <a:gd name="T96" fmla="*/ 411 w 809"/>
                <a:gd name="T97" fmla="*/ 737 h 793"/>
                <a:gd name="T98" fmla="*/ 386 w 809"/>
                <a:gd name="T99" fmla="*/ 718 h 793"/>
                <a:gd name="T100" fmla="*/ 150 w 809"/>
                <a:gd name="T101" fmla="*/ 541 h 793"/>
                <a:gd name="T102" fmla="*/ 0 w 809"/>
                <a:gd name="T103" fmla="*/ 426 h 793"/>
                <a:gd name="T104" fmla="*/ 60 w 809"/>
                <a:gd name="T105" fmla="*/ 336 h 793"/>
                <a:gd name="T106" fmla="*/ 89 w 809"/>
                <a:gd name="T107" fmla="*/ 332 h 793"/>
                <a:gd name="T108" fmla="*/ 132 w 809"/>
                <a:gd name="T109" fmla="*/ 318 h 793"/>
                <a:gd name="T110" fmla="*/ 169 w 809"/>
                <a:gd name="T111" fmla="*/ 292 h 793"/>
                <a:gd name="T112" fmla="*/ 199 w 809"/>
                <a:gd name="T113" fmla="*/ 279 h 793"/>
                <a:gd name="T114" fmla="*/ 190 w 809"/>
                <a:gd name="T115" fmla="*/ 270 h 793"/>
                <a:gd name="T116" fmla="*/ 205 w 809"/>
                <a:gd name="T117" fmla="*/ 242 h 793"/>
                <a:gd name="T118" fmla="*/ 205 w 809"/>
                <a:gd name="T119" fmla="*/ 242 h 793"/>
                <a:gd name="T120" fmla="*/ 205 w 809"/>
                <a:gd name="T121" fmla="*/ 242 h 7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09" h="793">
                  <a:moveTo>
                    <a:pt x="205" y="242"/>
                  </a:moveTo>
                  <a:lnTo>
                    <a:pt x="223" y="239"/>
                  </a:lnTo>
                  <a:lnTo>
                    <a:pt x="228" y="230"/>
                  </a:lnTo>
                  <a:lnTo>
                    <a:pt x="249" y="224"/>
                  </a:lnTo>
                  <a:lnTo>
                    <a:pt x="292" y="230"/>
                  </a:lnTo>
                  <a:lnTo>
                    <a:pt x="292" y="224"/>
                  </a:lnTo>
                  <a:lnTo>
                    <a:pt x="289" y="224"/>
                  </a:lnTo>
                  <a:lnTo>
                    <a:pt x="292" y="217"/>
                  </a:lnTo>
                  <a:lnTo>
                    <a:pt x="301" y="208"/>
                  </a:lnTo>
                  <a:lnTo>
                    <a:pt x="284" y="198"/>
                  </a:lnTo>
                  <a:lnTo>
                    <a:pt x="280" y="189"/>
                  </a:lnTo>
                  <a:lnTo>
                    <a:pt x="284" y="187"/>
                  </a:lnTo>
                  <a:lnTo>
                    <a:pt x="275" y="177"/>
                  </a:lnTo>
                  <a:lnTo>
                    <a:pt x="275" y="158"/>
                  </a:lnTo>
                  <a:lnTo>
                    <a:pt x="271" y="155"/>
                  </a:lnTo>
                  <a:lnTo>
                    <a:pt x="275" y="136"/>
                  </a:lnTo>
                  <a:lnTo>
                    <a:pt x="271" y="124"/>
                  </a:lnTo>
                  <a:lnTo>
                    <a:pt x="275" y="118"/>
                  </a:lnTo>
                  <a:lnTo>
                    <a:pt x="266" y="115"/>
                  </a:lnTo>
                  <a:lnTo>
                    <a:pt x="271" y="108"/>
                  </a:lnTo>
                  <a:lnTo>
                    <a:pt x="253" y="92"/>
                  </a:lnTo>
                  <a:lnTo>
                    <a:pt x="271" y="92"/>
                  </a:lnTo>
                  <a:lnTo>
                    <a:pt x="289" y="78"/>
                  </a:lnTo>
                  <a:lnTo>
                    <a:pt x="301" y="65"/>
                  </a:lnTo>
                  <a:lnTo>
                    <a:pt x="310" y="62"/>
                  </a:lnTo>
                  <a:lnTo>
                    <a:pt x="313" y="65"/>
                  </a:lnTo>
                  <a:lnTo>
                    <a:pt x="326" y="55"/>
                  </a:lnTo>
                  <a:lnTo>
                    <a:pt x="334" y="62"/>
                  </a:lnTo>
                  <a:lnTo>
                    <a:pt x="350" y="46"/>
                  </a:lnTo>
                  <a:lnTo>
                    <a:pt x="386" y="25"/>
                  </a:lnTo>
                  <a:lnTo>
                    <a:pt x="432" y="21"/>
                  </a:lnTo>
                  <a:lnTo>
                    <a:pt x="440" y="25"/>
                  </a:lnTo>
                  <a:lnTo>
                    <a:pt x="453" y="12"/>
                  </a:lnTo>
                  <a:lnTo>
                    <a:pt x="477" y="16"/>
                  </a:lnTo>
                  <a:lnTo>
                    <a:pt x="491" y="7"/>
                  </a:lnTo>
                  <a:lnTo>
                    <a:pt x="525" y="7"/>
                  </a:lnTo>
                  <a:lnTo>
                    <a:pt x="545" y="21"/>
                  </a:lnTo>
                  <a:lnTo>
                    <a:pt x="564" y="12"/>
                  </a:lnTo>
                  <a:lnTo>
                    <a:pt x="585" y="7"/>
                  </a:lnTo>
                  <a:lnTo>
                    <a:pt x="585" y="2"/>
                  </a:lnTo>
                  <a:lnTo>
                    <a:pt x="595" y="0"/>
                  </a:lnTo>
                  <a:lnTo>
                    <a:pt x="597" y="7"/>
                  </a:lnTo>
                  <a:lnTo>
                    <a:pt x="613" y="7"/>
                  </a:lnTo>
                  <a:lnTo>
                    <a:pt x="621" y="7"/>
                  </a:lnTo>
                  <a:lnTo>
                    <a:pt x="625" y="2"/>
                  </a:lnTo>
                  <a:lnTo>
                    <a:pt x="625" y="0"/>
                  </a:lnTo>
                  <a:lnTo>
                    <a:pt x="646" y="7"/>
                  </a:lnTo>
                  <a:lnTo>
                    <a:pt x="651" y="12"/>
                  </a:lnTo>
                  <a:lnTo>
                    <a:pt x="664" y="7"/>
                  </a:lnTo>
                  <a:lnTo>
                    <a:pt x="676" y="7"/>
                  </a:lnTo>
                  <a:lnTo>
                    <a:pt x="682" y="12"/>
                  </a:lnTo>
                  <a:lnTo>
                    <a:pt x="658" y="25"/>
                  </a:lnTo>
                  <a:lnTo>
                    <a:pt x="667" y="30"/>
                  </a:lnTo>
                  <a:lnTo>
                    <a:pt x="664" y="55"/>
                  </a:lnTo>
                  <a:lnTo>
                    <a:pt x="667" y="65"/>
                  </a:lnTo>
                  <a:lnTo>
                    <a:pt x="667" y="78"/>
                  </a:lnTo>
                  <a:lnTo>
                    <a:pt x="667" y="87"/>
                  </a:lnTo>
                  <a:lnTo>
                    <a:pt x="664" y="115"/>
                  </a:lnTo>
                  <a:lnTo>
                    <a:pt x="646" y="124"/>
                  </a:lnTo>
                  <a:lnTo>
                    <a:pt x="646" y="131"/>
                  </a:lnTo>
                  <a:lnTo>
                    <a:pt x="634" y="136"/>
                  </a:lnTo>
                  <a:lnTo>
                    <a:pt x="634" y="146"/>
                  </a:lnTo>
                  <a:lnTo>
                    <a:pt x="642" y="177"/>
                  </a:lnTo>
                  <a:lnTo>
                    <a:pt x="658" y="180"/>
                  </a:lnTo>
                  <a:lnTo>
                    <a:pt x="667" y="193"/>
                  </a:lnTo>
                  <a:lnTo>
                    <a:pt x="667" y="208"/>
                  </a:lnTo>
                  <a:lnTo>
                    <a:pt x="694" y="230"/>
                  </a:lnTo>
                  <a:lnTo>
                    <a:pt x="715" y="311"/>
                  </a:lnTo>
                  <a:lnTo>
                    <a:pt x="706" y="314"/>
                  </a:lnTo>
                  <a:lnTo>
                    <a:pt x="719" y="336"/>
                  </a:lnTo>
                  <a:lnTo>
                    <a:pt x="724" y="357"/>
                  </a:lnTo>
                  <a:lnTo>
                    <a:pt x="724" y="398"/>
                  </a:lnTo>
                  <a:lnTo>
                    <a:pt x="734" y="417"/>
                  </a:lnTo>
                  <a:lnTo>
                    <a:pt x="719" y="438"/>
                  </a:lnTo>
                  <a:lnTo>
                    <a:pt x="727" y="457"/>
                  </a:lnTo>
                  <a:lnTo>
                    <a:pt x="727" y="461"/>
                  </a:lnTo>
                  <a:lnTo>
                    <a:pt x="727" y="472"/>
                  </a:lnTo>
                  <a:lnTo>
                    <a:pt x="712" y="479"/>
                  </a:lnTo>
                  <a:lnTo>
                    <a:pt x="706" y="488"/>
                  </a:lnTo>
                  <a:lnTo>
                    <a:pt x="734" y="523"/>
                  </a:lnTo>
                  <a:lnTo>
                    <a:pt x="734" y="544"/>
                  </a:lnTo>
                  <a:lnTo>
                    <a:pt x="742" y="550"/>
                  </a:lnTo>
                  <a:lnTo>
                    <a:pt x="742" y="553"/>
                  </a:lnTo>
                  <a:lnTo>
                    <a:pt x="748" y="563"/>
                  </a:lnTo>
                  <a:lnTo>
                    <a:pt x="757" y="560"/>
                  </a:lnTo>
                  <a:lnTo>
                    <a:pt x="794" y="566"/>
                  </a:lnTo>
                  <a:lnTo>
                    <a:pt x="809" y="603"/>
                  </a:lnTo>
                  <a:lnTo>
                    <a:pt x="634" y="716"/>
                  </a:lnTo>
                  <a:lnTo>
                    <a:pt x="567" y="778"/>
                  </a:lnTo>
                  <a:lnTo>
                    <a:pt x="507" y="787"/>
                  </a:lnTo>
                  <a:lnTo>
                    <a:pt x="470" y="793"/>
                  </a:lnTo>
                  <a:lnTo>
                    <a:pt x="461" y="787"/>
                  </a:lnTo>
                  <a:lnTo>
                    <a:pt x="470" y="778"/>
                  </a:lnTo>
                  <a:lnTo>
                    <a:pt x="465" y="758"/>
                  </a:lnTo>
                  <a:lnTo>
                    <a:pt x="435" y="749"/>
                  </a:lnTo>
                  <a:lnTo>
                    <a:pt x="425" y="740"/>
                  </a:lnTo>
                  <a:lnTo>
                    <a:pt x="423" y="740"/>
                  </a:lnTo>
                  <a:lnTo>
                    <a:pt x="411" y="737"/>
                  </a:lnTo>
                  <a:lnTo>
                    <a:pt x="404" y="728"/>
                  </a:lnTo>
                  <a:lnTo>
                    <a:pt x="386" y="718"/>
                  </a:lnTo>
                  <a:lnTo>
                    <a:pt x="386" y="707"/>
                  </a:lnTo>
                  <a:lnTo>
                    <a:pt x="150" y="541"/>
                  </a:lnTo>
                  <a:lnTo>
                    <a:pt x="0" y="438"/>
                  </a:lnTo>
                  <a:lnTo>
                    <a:pt x="0" y="426"/>
                  </a:lnTo>
                  <a:lnTo>
                    <a:pt x="0" y="376"/>
                  </a:lnTo>
                  <a:lnTo>
                    <a:pt x="60" y="336"/>
                  </a:lnTo>
                  <a:lnTo>
                    <a:pt x="82" y="341"/>
                  </a:lnTo>
                  <a:lnTo>
                    <a:pt x="89" y="332"/>
                  </a:lnTo>
                  <a:lnTo>
                    <a:pt x="124" y="327"/>
                  </a:lnTo>
                  <a:lnTo>
                    <a:pt x="132" y="318"/>
                  </a:lnTo>
                  <a:lnTo>
                    <a:pt x="145" y="301"/>
                  </a:lnTo>
                  <a:lnTo>
                    <a:pt x="169" y="292"/>
                  </a:lnTo>
                  <a:lnTo>
                    <a:pt x="181" y="279"/>
                  </a:lnTo>
                  <a:lnTo>
                    <a:pt x="199" y="279"/>
                  </a:lnTo>
                  <a:lnTo>
                    <a:pt x="199" y="274"/>
                  </a:lnTo>
                  <a:lnTo>
                    <a:pt x="190" y="270"/>
                  </a:lnTo>
                  <a:lnTo>
                    <a:pt x="190" y="249"/>
                  </a:lnTo>
                  <a:lnTo>
                    <a:pt x="205" y="242"/>
                  </a:lnTo>
                  <a:lnTo>
                    <a:pt x="205" y="242"/>
                  </a:lnTo>
                  <a:lnTo>
                    <a:pt x="205" y="242"/>
                  </a:lnTo>
                  <a:lnTo>
                    <a:pt x="205" y="242"/>
                  </a:lnTo>
                  <a:lnTo>
                    <a:pt x="205" y="24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1EDEA60D-5093-49C5-A43A-8E24D89D726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629325" y="5408738"/>
              <a:ext cx="450388" cy="513534"/>
            </a:xfrm>
            <a:custGeom>
              <a:avLst/>
              <a:gdLst>
                <a:gd name="T0" fmla="*/ 42 w 485"/>
                <a:gd name="T1" fmla="*/ 13 h 553"/>
                <a:gd name="T2" fmla="*/ 31 w 485"/>
                <a:gd name="T3" fmla="*/ 53 h 553"/>
                <a:gd name="T4" fmla="*/ 12 w 485"/>
                <a:gd name="T5" fmla="*/ 48 h 553"/>
                <a:gd name="T6" fmla="*/ 5 w 485"/>
                <a:gd name="T7" fmla="*/ 22 h 553"/>
                <a:gd name="T8" fmla="*/ 21 w 485"/>
                <a:gd name="T9" fmla="*/ 13 h 553"/>
                <a:gd name="T10" fmla="*/ 33 w 485"/>
                <a:gd name="T11" fmla="*/ 4 h 553"/>
                <a:gd name="T12" fmla="*/ 42 w 485"/>
                <a:gd name="T13" fmla="*/ 0 h 553"/>
                <a:gd name="T14" fmla="*/ 52 w 485"/>
                <a:gd name="T15" fmla="*/ 9 h 553"/>
                <a:gd name="T16" fmla="*/ 52 w 485"/>
                <a:gd name="T17" fmla="*/ 9 h 553"/>
                <a:gd name="T18" fmla="*/ 458 w 485"/>
                <a:gd name="T19" fmla="*/ 541 h 553"/>
                <a:gd name="T20" fmla="*/ 366 w 485"/>
                <a:gd name="T21" fmla="*/ 550 h 553"/>
                <a:gd name="T22" fmla="*/ 345 w 485"/>
                <a:gd name="T23" fmla="*/ 553 h 553"/>
                <a:gd name="T24" fmla="*/ 279 w 485"/>
                <a:gd name="T25" fmla="*/ 544 h 553"/>
                <a:gd name="T26" fmla="*/ 263 w 485"/>
                <a:gd name="T27" fmla="*/ 528 h 553"/>
                <a:gd name="T28" fmla="*/ 66 w 485"/>
                <a:gd name="T29" fmla="*/ 513 h 553"/>
                <a:gd name="T30" fmla="*/ 31 w 485"/>
                <a:gd name="T31" fmla="*/ 523 h 553"/>
                <a:gd name="T32" fmla="*/ 0 w 485"/>
                <a:gd name="T33" fmla="*/ 523 h 553"/>
                <a:gd name="T34" fmla="*/ 0 w 485"/>
                <a:gd name="T35" fmla="*/ 470 h 553"/>
                <a:gd name="T36" fmla="*/ 5 w 485"/>
                <a:gd name="T37" fmla="*/ 456 h 553"/>
                <a:gd name="T38" fmla="*/ 21 w 485"/>
                <a:gd name="T39" fmla="*/ 419 h 553"/>
                <a:gd name="T40" fmla="*/ 31 w 485"/>
                <a:gd name="T41" fmla="*/ 382 h 553"/>
                <a:gd name="T42" fmla="*/ 45 w 485"/>
                <a:gd name="T43" fmla="*/ 345 h 553"/>
                <a:gd name="T44" fmla="*/ 63 w 485"/>
                <a:gd name="T45" fmla="*/ 327 h 553"/>
                <a:gd name="T46" fmla="*/ 82 w 485"/>
                <a:gd name="T47" fmla="*/ 265 h 553"/>
                <a:gd name="T48" fmla="*/ 75 w 485"/>
                <a:gd name="T49" fmla="*/ 253 h 553"/>
                <a:gd name="T50" fmla="*/ 45 w 485"/>
                <a:gd name="T51" fmla="*/ 187 h 553"/>
                <a:gd name="T52" fmla="*/ 45 w 485"/>
                <a:gd name="T53" fmla="*/ 187 h 553"/>
                <a:gd name="T54" fmla="*/ 63 w 485"/>
                <a:gd name="T55" fmla="*/ 159 h 553"/>
                <a:gd name="T56" fmla="*/ 42 w 485"/>
                <a:gd name="T57" fmla="*/ 103 h 553"/>
                <a:gd name="T58" fmla="*/ 15 w 485"/>
                <a:gd name="T59" fmla="*/ 66 h 553"/>
                <a:gd name="T60" fmla="*/ 54 w 485"/>
                <a:gd name="T61" fmla="*/ 57 h 553"/>
                <a:gd name="T62" fmla="*/ 188 w 485"/>
                <a:gd name="T63" fmla="*/ 62 h 553"/>
                <a:gd name="T64" fmla="*/ 193 w 485"/>
                <a:gd name="T65" fmla="*/ 78 h 553"/>
                <a:gd name="T66" fmla="*/ 202 w 485"/>
                <a:gd name="T67" fmla="*/ 110 h 553"/>
                <a:gd name="T68" fmla="*/ 242 w 485"/>
                <a:gd name="T69" fmla="*/ 147 h 553"/>
                <a:gd name="T70" fmla="*/ 249 w 485"/>
                <a:gd name="T71" fmla="*/ 147 h 553"/>
                <a:gd name="T72" fmla="*/ 263 w 485"/>
                <a:gd name="T73" fmla="*/ 140 h 553"/>
                <a:gd name="T74" fmla="*/ 296 w 485"/>
                <a:gd name="T75" fmla="*/ 128 h 553"/>
                <a:gd name="T76" fmla="*/ 305 w 485"/>
                <a:gd name="T77" fmla="*/ 103 h 553"/>
                <a:gd name="T78" fmla="*/ 336 w 485"/>
                <a:gd name="T79" fmla="*/ 103 h 553"/>
                <a:gd name="T80" fmla="*/ 345 w 485"/>
                <a:gd name="T81" fmla="*/ 115 h 553"/>
                <a:gd name="T82" fmla="*/ 396 w 485"/>
                <a:gd name="T83" fmla="*/ 124 h 553"/>
                <a:gd name="T84" fmla="*/ 396 w 485"/>
                <a:gd name="T85" fmla="*/ 165 h 553"/>
                <a:gd name="T86" fmla="*/ 396 w 485"/>
                <a:gd name="T87" fmla="*/ 211 h 553"/>
                <a:gd name="T88" fmla="*/ 415 w 485"/>
                <a:gd name="T89" fmla="*/ 239 h 553"/>
                <a:gd name="T90" fmla="*/ 409 w 485"/>
                <a:gd name="T91" fmla="*/ 262 h 553"/>
                <a:gd name="T92" fmla="*/ 425 w 485"/>
                <a:gd name="T93" fmla="*/ 265 h 553"/>
                <a:gd name="T94" fmla="*/ 458 w 485"/>
                <a:gd name="T95" fmla="*/ 265 h 553"/>
                <a:gd name="T96" fmla="*/ 479 w 485"/>
                <a:gd name="T97" fmla="*/ 262 h 553"/>
                <a:gd name="T98" fmla="*/ 479 w 485"/>
                <a:gd name="T99" fmla="*/ 293 h 553"/>
                <a:gd name="T100" fmla="*/ 485 w 485"/>
                <a:gd name="T101" fmla="*/ 324 h 553"/>
                <a:gd name="T102" fmla="*/ 479 w 485"/>
                <a:gd name="T103" fmla="*/ 352 h 553"/>
                <a:gd name="T104" fmla="*/ 403 w 485"/>
                <a:gd name="T105" fmla="*/ 479 h 553"/>
                <a:gd name="T106" fmla="*/ 448 w 485"/>
                <a:gd name="T107" fmla="*/ 532 h 553"/>
                <a:gd name="T108" fmla="*/ 458 w 485"/>
                <a:gd name="T109" fmla="*/ 541 h 553"/>
                <a:gd name="T110" fmla="*/ 458 w 485"/>
                <a:gd name="T111" fmla="*/ 541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85" h="553">
                  <a:moveTo>
                    <a:pt x="52" y="9"/>
                  </a:moveTo>
                  <a:lnTo>
                    <a:pt x="42" y="13"/>
                  </a:lnTo>
                  <a:lnTo>
                    <a:pt x="31" y="22"/>
                  </a:lnTo>
                  <a:lnTo>
                    <a:pt x="31" y="53"/>
                  </a:lnTo>
                  <a:lnTo>
                    <a:pt x="15" y="53"/>
                  </a:lnTo>
                  <a:lnTo>
                    <a:pt x="12" y="48"/>
                  </a:lnTo>
                  <a:lnTo>
                    <a:pt x="15" y="41"/>
                  </a:lnTo>
                  <a:lnTo>
                    <a:pt x="5" y="22"/>
                  </a:lnTo>
                  <a:lnTo>
                    <a:pt x="15" y="13"/>
                  </a:lnTo>
                  <a:lnTo>
                    <a:pt x="21" y="13"/>
                  </a:lnTo>
                  <a:lnTo>
                    <a:pt x="24" y="9"/>
                  </a:lnTo>
                  <a:lnTo>
                    <a:pt x="33" y="4"/>
                  </a:lnTo>
                  <a:lnTo>
                    <a:pt x="36" y="0"/>
                  </a:lnTo>
                  <a:lnTo>
                    <a:pt x="42" y="0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close/>
                  <a:moveTo>
                    <a:pt x="458" y="541"/>
                  </a:moveTo>
                  <a:lnTo>
                    <a:pt x="375" y="553"/>
                  </a:lnTo>
                  <a:lnTo>
                    <a:pt x="366" y="550"/>
                  </a:lnTo>
                  <a:lnTo>
                    <a:pt x="357" y="553"/>
                  </a:lnTo>
                  <a:lnTo>
                    <a:pt x="345" y="553"/>
                  </a:lnTo>
                  <a:lnTo>
                    <a:pt x="336" y="550"/>
                  </a:lnTo>
                  <a:lnTo>
                    <a:pt x="279" y="544"/>
                  </a:lnTo>
                  <a:lnTo>
                    <a:pt x="266" y="541"/>
                  </a:lnTo>
                  <a:lnTo>
                    <a:pt x="263" y="528"/>
                  </a:lnTo>
                  <a:lnTo>
                    <a:pt x="85" y="532"/>
                  </a:lnTo>
                  <a:lnTo>
                    <a:pt x="66" y="513"/>
                  </a:lnTo>
                  <a:lnTo>
                    <a:pt x="54" y="509"/>
                  </a:lnTo>
                  <a:lnTo>
                    <a:pt x="31" y="523"/>
                  </a:lnTo>
                  <a:lnTo>
                    <a:pt x="12" y="518"/>
                  </a:lnTo>
                  <a:lnTo>
                    <a:pt x="0" y="523"/>
                  </a:lnTo>
                  <a:lnTo>
                    <a:pt x="0" y="491"/>
                  </a:lnTo>
                  <a:lnTo>
                    <a:pt x="0" y="470"/>
                  </a:lnTo>
                  <a:lnTo>
                    <a:pt x="0" y="466"/>
                  </a:lnTo>
                  <a:lnTo>
                    <a:pt x="5" y="456"/>
                  </a:lnTo>
                  <a:lnTo>
                    <a:pt x="12" y="438"/>
                  </a:lnTo>
                  <a:lnTo>
                    <a:pt x="21" y="419"/>
                  </a:lnTo>
                  <a:lnTo>
                    <a:pt x="21" y="394"/>
                  </a:lnTo>
                  <a:lnTo>
                    <a:pt x="31" y="382"/>
                  </a:lnTo>
                  <a:lnTo>
                    <a:pt x="31" y="364"/>
                  </a:lnTo>
                  <a:lnTo>
                    <a:pt x="45" y="345"/>
                  </a:lnTo>
                  <a:lnTo>
                    <a:pt x="45" y="336"/>
                  </a:lnTo>
                  <a:lnTo>
                    <a:pt x="63" y="327"/>
                  </a:lnTo>
                  <a:lnTo>
                    <a:pt x="75" y="295"/>
                  </a:lnTo>
                  <a:lnTo>
                    <a:pt x="82" y="265"/>
                  </a:lnTo>
                  <a:lnTo>
                    <a:pt x="75" y="258"/>
                  </a:lnTo>
                  <a:lnTo>
                    <a:pt x="75" y="253"/>
                  </a:lnTo>
                  <a:lnTo>
                    <a:pt x="66" y="242"/>
                  </a:lnTo>
                  <a:lnTo>
                    <a:pt x="45" y="187"/>
                  </a:lnTo>
                  <a:lnTo>
                    <a:pt x="52" y="177"/>
                  </a:lnTo>
                  <a:lnTo>
                    <a:pt x="45" y="187"/>
                  </a:lnTo>
                  <a:lnTo>
                    <a:pt x="63" y="170"/>
                  </a:lnTo>
                  <a:lnTo>
                    <a:pt x="63" y="159"/>
                  </a:lnTo>
                  <a:lnTo>
                    <a:pt x="42" y="115"/>
                  </a:lnTo>
                  <a:lnTo>
                    <a:pt x="42" y="103"/>
                  </a:lnTo>
                  <a:lnTo>
                    <a:pt x="31" y="87"/>
                  </a:lnTo>
                  <a:lnTo>
                    <a:pt x="15" y="66"/>
                  </a:lnTo>
                  <a:lnTo>
                    <a:pt x="36" y="62"/>
                  </a:lnTo>
                  <a:lnTo>
                    <a:pt x="54" y="57"/>
                  </a:lnTo>
                  <a:lnTo>
                    <a:pt x="166" y="57"/>
                  </a:lnTo>
                  <a:lnTo>
                    <a:pt x="188" y="62"/>
                  </a:lnTo>
                  <a:lnTo>
                    <a:pt x="193" y="71"/>
                  </a:lnTo>
                  <a:lnTo>
                    <a:pt x="193" y="78"/>
                  </a:lnTo>
                  <a:lnTo>
                    <a:pt x="202" y="103"/>
                  </a:lnTo>
                  <a:lnTo>
                    <a:pt x="202" y="110"/>
                  </a:lnTo>
                  <a:lnTo>
                    <a:pt x="227" y="147"/>
                  </a:lnTo>
                  <a:lnTo>
                    <a:pt x="242" y="147"/>
                  </a:lnTo>
                  <a:lnTo>
                    <a:pt x="249" y="147"/>
                  </a:lnTo>
                  <a:lnTo>
                    <a:pt x="249" y="147"/>
                  </a:lnTo>
                  <a:lnTo>
                    <a:pt x="263" y="140"/>
                  </a:lnTo>
                  <a:lnTo>
                    <a:pt x="263" y="140"/>
                  </a:lnTo>
                  <a:lnTo>
                    <a:pt x="296" y="140"/>
                  </a:lnTo>
                  <a:lnTo>
                    <a:pt x="296" y="128"/>
                  </a:lnTo>
                  <a:lnTo>
                    <a:pt x="305" y="124"/>
                  </a:lnTo>
                  <a:lnTo>
                    <a:pt x="305" y="103"/>
                  </a:lnTo>
                  <a:lnTo>
                    <a:pt x="336" y="103"/>
                  </a:lnTo>
                  <a:lnTo>
                    <a:pt x="336" y="103"/>
                  </a:lnTo>
                  <a:lnTo>
                    <a:pt x="348" y="103"/>
                  </a:lnTo>
                  <a:lnTo>
                    <a:pt x="345" y="115"/>
                  </a:lnTo>
                  <a:lnTo>
                    <a:pt x="394" y="115"/>
                  </a:lnTo>
                  <a:lnTo>
                    <a:pt x="396" y="124"/>
                  </a:lnTo>
                  <a:lnTo>
                    <a:pt x="394" y="140"/>
                  </a:lnTo>
                  <a:lnTo>
                    <a:pt x="396" y="165"/>
                  </a:lnTo>
                  <a:lnTo>
                    <a:pt x="394" y="200"/>
                  </a:lnTo>
                  <a:lnTo>
                    <a:pt x="396" y="211"/>
                  </a:lnTo>
                  <a:lnTo>
                    <a:pt x="406" y="221"/>
                  </a:lnTo>
                  <a:lnTo>
                    <a:pt x="415" y="239"/>
                  </a:lnTo>
                  <a:lnTo>
                    <a:pt x="415" y="258"/>
                  </a:lnTo>
                  <a:lnTo>
                    <a:pt x="409" y="262"/>
                  </a:lnTo>
                  <a:lnTo>
                    <a:pt x="409" y="273"/>
                  </a:lnTo>
                  <a:lnTo>
                    <a:pt x="425" y="265"/>
                  </a:lnTo>
                  <a:lnTo>
                    <a:pt x="446" y="271"/>
                  </a:lnTo>
                  <a:lnTo>
                    <a:pt x="458" y="265"/>
                  </a:lnTo>
                  <a:lnTo>
                    <a:pt x="476" y="265"/>
                  </a:lnTo>
                  <a:lnTo>
                    <a:pt x="479" y="262"/>
                  </a:lnTo>
                  <a:lnTo>
                    <a:pt x="485" y="283"/>
                  </a:lnTo>
                  <a:lnTo>
                    <a:pt x="479" y="293"/>
                  </a:lnTo>
                  <a:lnTo>
                    <a:pt x="479" y="313"/>
                  </a:lnTo>
                  <a:lnTo>
                    <a:pt x="485" y="324"/>
                  </a:lnTo>
                  <a:lnTo>
                    <a:pt x="476" y="336"/>
                  </a:lnTo>
                  <a:lnTo>
                    <a:pt x="479" y="352"/>
                  </a:lnTo>
                  <a:lnTo>
                    <a:pt x="403" y="345"/>
                  </a:lnTo>
                  <a:lnTo>
                    <a:pt x="403" y="479"/>
                  </a:lnTo>
                  <a:lnTo>
                    <a:pt x="406" y="491"/>
                  </a:lnTo>
                  <a:lnTo>
                    <a:pt x="448" y="532"/>
                  </a:lnTo>
                  <a:lnTo>
                    <a:pt x="458" y="541"/>
                  </a:lnTo>
                  <a:lnTo>
                    <a:pt x="458" y="541"/>
                  </a:lnTo>
                  <a:lnTo>
                    <a:pt x="458" y="541"/>
                  </a:lnTo>
                  <a:lnTo>
                    <a:pt x="458" y="541"/>
                  </a:lnTo>
                  <a:lnTo>
                    <a:pt x="458" y="541"/>
                  </a:lnTo>
                  <a:close/>
                </a:path>
              </a:pathLst>
            </a:custGeom>
            <a:solidFill>
              <a:srgbClr val="FEC057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EC2B4944-02DA-4846-9268-44123F914746}"/>
                </a:ext>
              </a:extLst>
            </p:cNvPr>
            <p:cNvSpPr>
              <a:spLocks/>
            </p:cNvSpPr>
            <p:nvPr/>
          </p:nvSpPr>
          <p:spPr bwMode="gray">
            <a:xfrm>
              <a:off x="6930203" y="5912986"/>
              <a:ext cx="338951" cy="360310"/>
            </a:xfrm>
            <a:custGeom>
              <a:avLst/>
              <a:gdLst>
                <a:gd name="T0" fmla="*/ 0 w 365"/>
                <a:gd name="T1" fmla="*/ 295 h 388"/>
                <a:gd name="T2" fmla="*/ 0 w 365"/>
                <a:gd name="T3" fmla="*/ 181 h 388"/>
                <a:gd name="T4" fmla="*/ 39 w 365"/>
                <a:gd name="T5" fmla="*/ 181 h 388"/>
                <a:gd name="T6" fmla="*/ 39 w 365"/>
                <a:gd name="T7" fmla="*/ 25 h 388"/>
                <a:gd name="T8" fmla="*/ 130 w 365"/>
                <a:gd name="T9" fmla="*/ 9 h 388"/>
                <a:gd name="T10" fmla="*/ 141 w 365"/>
                <a:gd name="T11" fmla="*/ 31 h 388"/>
                <a:gd name="T12" fmla="*/ 169 w 365"/>
                <a:gd name="T13" fmla="*/ 9 h 388"/>
                <a:gd name="T14" fmla="*/ 174 w 365"/>
                <a:gd name="T15" fmla="*/ 16 h 388"/>
                <a:gd name="T16" fmla="*/ 190 w 365"/>
                <a:gd name="T17" fmla="*/ 0 h 388"/>
                <a:gd name="T18" fmla="*/ 205 w 365"/>
                <a:gd name="T19" fmla="*/ 0 h 388"/>
                <a:gd name="T20" fmla="*/ 205 w 365"/>
                <a:gd name="T21" fmla="*/ 16 h 388"/>
                <a:gd name="T22" fmla="*/ 233 w 365"/>
                <a:gd name="T23" fmla="*/ 49 h 388"/>
                <a:gd name="T24" fmla="*/ 233 w 365"/>
                <a:gd name="T25" fmla="*/ 56 h 388"/>
                <a:gd name="T26" fmla="*/ 241 w 365"/>
                <a:gd name="T27" fmla="*/ 72 h 388"/>
                <a:gd name="T28" fmla="*/ 262 w 365"/>
                <a:gd name="T29" fmla="*/ 90 h 388"/>
                <a:gd name="T30" fmla="*/ 280 w 365"/>
                <a:gd name="T31" fmla="*/ 100 h 388"/>
                <a:gd name="T32" fmla="*/ 283 w 365"/>
                <a:gd name="T33" fmla="*/ 118 h 388"/>
                <a:gd name="T34" fmla="*/ 302 w 365"/>
                <a:gd name="T35" fmla="*/ 118 h 388"/>
                <a:gd name="T36" fmla="*/ 302 w 365"/>
                <a:gd name="T37" fmla="*/ 139 h 388"/>
                <a:gd name="T38" fmla="*/ 313 w 365"/>
                <a:gd name="T39" fmla="*/ 162 h 388"/>
                <a:gd name="T40" fmla="*/ 335 w 365"/>
                <a:gd name="T41" fmla="*/ 162 h 388"/>
                <a:gd name="T42" fmla="*/ 353 w 365"/>
                <a:gd name="T43" fmla="*/ 171 h 388"/>
                <a:gd name="T44" fmla="*/ 353 w 365"/>
                <a:gd name="T45" fmla="*/ 181 h 388"/>
                <a:gd name="T46" fmla="*/ 363 w 365"/>
                <a:gd name="T47" fmla="*/ 181 h 388"/>
                <a:gd name="T48" fmla="*/ 365 w 365"/>
                <a:gd name="T49" fmla="*/ 190 h 388"/>
                <a:gd name="T50" fmla="*/ 353 w 365"/>
                <a:gd name="T51" fmla="*/ 190 h 388"/>
                <a:gd name="T52" fmla="*/ 350 w 365"/>
                <a:gd name="T53" fmla="*/ 196 h 388"/>
                <a:gd name="T54" fmla="*/ 323 w 365"/>
                <a:gd name="T55" fmla="*/ 205 h 388"/>
                <a:gd name="T56" fmla="*/ 311 w 365"/>
                <a:gd name="T57" fmla="*/ 223 h 388"/>
                <a:gd name="T58" fmla="*/ 296 w 365"/>
                <a:gd name="T59" fmla="*/ 233 h 388"/>
                <a:gd name="T60" fmla="*/ 292 w 365"/>
                <a:gd name="T61" fmla="*/ 237 h 388"/>
                <a:gd name="T62" fmla="*/ 290 w 365"/>
                <a:gd name="T63" fmla="*/ 237 h 388"/>
                <a:gd name="T64" fmla="*/ 271 w 365"/>
                <a:gd name="T65" fmla="*/ 251 h 388"/>
                <a:gd name="T66" fmla="*/ 266 w 365"/>
                <a:gd name="T67" fmla="*/ 277 h 388"/>
                <a:gd name="T68" fmla="*/ 250 w 365"/>
                <a:gd name="T69" fmla="*/ 290 h 388"/>
                <a:gd name="T70" fmla="*/ 229 w 365"/>
                <a:gd name="T71" fmla="*/ 295 h 388"/>
                <a:gd name="T72" fmla="*/ 219 w 365"/>
                <a:gd name="T73" fmla="*/ 327 h 388"/>
                <a:gd name="T74" fmla="*/ 214 w 365"/>
                <a:gd name="T75" fmla="*/ 336 h 388"/>
                <a:gd name="T76" fmla="*/ 181 w 365"/>
                <a:gd name="T77" fmla="*/ 346 h 388"/>
                <a:gd name="T78" fmla="*/ 169 w 365"/>
                <a:gd name="T79" fmla="*/ 339 h 388"/>
                <a:gd name="T80" fmla="*/ 163 w 365"/>
                <a:gd name="T81" fmla="*/ 336 h 388"/>
                <a:gd name="T82" fmla="*/ 151 w 365"/>
                <a:gd name="T83" fmla="*/ 336 h 388"/>
                <a:gd name="T84" fmla="*/ 132 w 365"/>
                <a:gd name="T85" fmla="*/ 318 h 388"/>
                <a:gd name="T86" fmla="*/ 115 w 365"/>
                <a:gd name="T87" fmla="*/ 321 h 388"/>
                <a:gd name="T88" fmla="*/ 108 w 365"/>
                <a:gd name="T89" fmla="*/ 330 h 388"/>
                <a:gd name="T90" fmla="*/ 102 w 365"/>
                <a:gd name="T91" fmla="*/ 351 h 388"/>
                <a:gd name="T92" fmla="*/ 85 w 365"/>
                <a:gd name="T93" fmla="*/ 367 h 388"/>
                <a:gd name="T94" fmla="*/ 78 w 365"/>
                <a:gd name="T95" fmla="*/ 379 h 388"/>
                <a:gd name="T96" fmla="*/ 69 w 365"/>
                <a:gd name="T97" fmla="*/ 379 h 388"/>
                <a:gd name="T98" fmla="*/ 64 w 365"/>
                <a:gd name="T99" fmla="*/ 388 h 388"/>
                <a:gd name="T100" fmla="*/ 24 w 365"/>
                <a:gd name="T101" fmla="*/ 383 h 388"/>
                <a:gd name="T102" fmla="*/ 21 w 365"/>
                <a:gd name="T103" fmla="*/ 370 h 388"/>
                <a:gd name="T104" fmla="*/ 33 w 365"/>
                <a:gd name="T105" fmla="*/ 358 h 388"/>
                <a:gd name="T106" fmla="*/ 31 w 365"/>
                <a:gd name="T107" fmla="*/ 346 h 388"/>
                <a:gd name="T108" fmla="*/ 12 w 365"/>
                <a:gd name="T109" fmla="*/ 308 h 388"/>
                <a:gd name="T110" fmla="*/ 0 w 365"/>
                <a:gd name="T111" fmla="*/ 295 h 388"/>
                <a:gd name="T112" fmla="*/ 0 w 365"/>
                <a:gd name="T113" fmla="*/ 295 h 388"/>
                <a:gd name="T114" fmla="*/ 0 w 365"/>
                <a:gd name="T115" fmla="*/ 295 h 388"/>
                <a:gd name="T116" fmla="*/ 0 w 365"/>
                <a:gd name="T117" fmla="*/ 295 h 388"/>
                <a:gd name="T118" fmla="*/ 0 w 365"/>
                <a:gd name="T119" fmla="*/ 295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65" h="388">
                  <a:moveTo>
                    <a:pt x="0" y="295"/>
                  </a:moveTo>
                  <a:lnTo>
                    <a:pt x="0" y="181"/>
                  </a:lnTo>
                  <a:lnTo>
                    <a:pt x="39" y="181"/>
                  </a:lnTo>
                  <a:lnTo>
                    <a:pt x="39" y="25"/>
                  </a:lnTo>
                  <a:lnTo>
                    <a:pt x="130" y="9"/>
                  </a:lnTo>
                  <a:lnTo>
                    <a:pt x="141" y="31"/>
                  </a:lnTo>
                  <a:lnTo>
                    <a:pt x="169" y="9"/>
                  </a:lnTo>
                  <a:lnTo>
                    <a:pt x="174" y="16"/>
                  </a:lnTo>
                  <a:lnTo>
                    <a:pt x="190" y="0"/>
                  </a:lnTo>
                  <a:lnTo>
                    <a:pt x="205" y="0"/>
                  </a:lnTo>
                  <a:lnTo>
                    <a:pt x="205" y="16"/>
                  </a:lnTo>
                  <a:lnTo>
                    <a:pt x="233" y="49"/>
                  </a:lnTo>
                  <a:lnTo>
                    <a:pt x="233" y="56"/>
                  </a:lnTo>
                  <a:lnTo>
                    <a:pt x="241" y="72"/>
                  </a:lnTo>
                  <a:lnTo>
                    <a:pt x="262" y="90"/>
                  </a:lnTo>
                  <a:lnTo>
                    <a:pt x="280" y="100"/>
                  </a:lnTo>
                  <a:lnTo>
                    <a:pt x="283" y="118"/>
                  </a:lnTo>
                  <a:lnTo>
                    <a:pt x="302" y="118"/>
                  </a:lnTo>
                  <a:lnTo>
                    <a:pt x="302" y="139"/>
                  </a:lnTo>
                  <a:lnTo>
                    <a:pt x="313" y="162"/>
                  </a:lnTo>
                  <a:lnTo>
                    <a:pt x="335" y="162"/>
                  </a:lnTo>
                  <a:lnTo>
                    <a:pt x="353" y="171"/>
                  </a:lnTo>
                  <a:lnTo>
                    <a:pt x="353" y="181"/>
                  </a:lnTo>
                  <a:lnTo>
                    <a:pt x="363" y="181"/>
                  </a:lnTo>
                  <a:lnTo>
                    <a:pt x="365" y="190"/>
                  </a:lnTo>
                  <a:lnTo>
                    <a:pt x="353" y="190"/>
                  </a:lnTo>
                  <a:lnTo>
                    <a:pt x="350" y="196"/>
                  </a:lnTo>
                  <a:lnTo>
                    <a:pt x="323" y="205"/>
                  </a:lnTo>
                  <a:lnTo>
                    <a:pt x="311" y="223"/>
                  </a:lnTo>
                  <a:lnTo>
                    <a:pt x="296" y="233"/>
                  </a:lnTo>
                  <a:lnTo>
                    <a:pt x="292" y="237"/>
                  </a:lnTo>
                  <a:lnTo>
                    <a:pt x="290" y="237"/>
                  </a:lnTo>
                  <a:lnTo>
                    <a:pt x="271" y="251"/>
                  </a:lnTo>
                  <a:lnTo>
                    <a:pt x="266" y="277"/>
                  </a:lnTo>
                  <a:lnTo>
                    <a:pt x="250" y="290"/>
                  </a:lnTo>
                  <a:lnTo>
                    <a:pt x="229" y="295"/>
                  </a:lnTo>
                  <a:lnTo>
                    <a:pt x="219" y="327"/>
                  </a:lnTo>
                  <a:lnTo>
                    <a:pt x="214" y="336"/>
                  </a:lnTo>
                  <a:lnTo>
                    <a:pt x="181" y="346"/>
                  </a:lnTo>
                  <a:lnTo>
                    <a:pt x="169" y="339"/>
                  </a:lnTo>
                  <a:lnTo>
                    <a:pt x="163" y="336"/>
                  </a:lnTo>
                  <a:lnTo>
                    <a:pt x="151" y="336"/>
                  </a:lnTo>
                  <a:lnTo>
                    <a:pt x="132" y="318"/>
                  </a:lnTo>
                  <a:lnTo>
                    <a:pt x="115" y="321"/>
                  </a:lnTo>
                  <a:lnTo>
                    <a:pt x="108" y="330"/>
                  </a:lnTo>
                  <a:lnTo>
                    <a:pt x="102" y="351"/>
                  </a:lnTo>
                  <a:lnTo>
                    <a:pt x="85" y="367"/>
                  </a:lnTo>
                  <a:lnTo>
                    <a:pt x="78" y="379"/>
                  </a:lnTo>
                  <a:lnTo>
                    <a:pt x="69" y="379"/>
                  </a:lnTo>
                  <a:lnTo>
                    <a:pt x="64" y="388"/>
                  </a:lnTo>
                  <a:lnTo>
                    <a:pt x="24" y="383"/>
                  </a:lnTo>
                  <a:lnTo>
                    <a:pt x="21" y="370"/>
                  </a:lnTo>
                  <a:lnTo>
                    <a:pt x="33" y="358"/>
                  </a:lnTo>
                  <a:lnTo>
                    <a:pt x="31" y="346"/>
                  </a:lnTo>
                  <a:lnTo>
                    <a:pt x="12" y="308"/>
                  </a:lnTo>
                  <a:lnTo>
                    <a:pt x="0" y="295"/>
                  </a:lnTo>
                  <a:lnTo>
                    <a:pt x="0" y="295"/>
                  </a:lnTo>
                  <a:lnTo>
                    <a:pt x="0" y="295"/>
                  </a:lnTo>
                  <a:lnTo>
                    <a:pt x="0" y="295"/>
                  </a:lnTo>
                  <a:lnTo>
                    <a:pt x="0" y="295"/>
                  </a:lnTo>
                  <a:close/>
                </a:path>
              </a:pathLst>
            </a:custGeom>
            <a:solidFill>
              <a:srgbClr val="FEC057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7F55B423-83F0-40A5-84E7-0ADFA28F3E5E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7226" y="4774480"/>
              <a:ext cx="114222" cy="232159"/>
            </a:xfrm>
            <a:custGeom>
              <a:avLst/>
              <a:gdLst>
                <a:gd name="T0" fmla="*/ 34 w 123"/>
                <a:gd name="T1" fmla="*/ 250 h 250"/>
                <a:gd name="T2" fmla="*/ 40 w 123"/>
                <a:gd name="T3" fmla="*/ 247 h 250"/>
                <a:gd name="T4" fmla="*/ 31 w 123"/>
                <a:gd name="T5" fmla="*/ 232 h 250"/>
                <a:gd name="T6" fmla="*/ 31 w 123"/>
                <a:gd name="T7" fmla="*/ 220 h 250"/>
                <a:gd name="T8" fmla="*/ 34 w 123"/>
                <a:gd name="T9" fmla="*/ 220 h 250"/>
                <a:gd name="T10" fmla="*/ 34 w 123"/>
                <a:gd name="T11" fmla="*/ 199 h 250"/>
                <a:gd name="T12" fmla="*/ 34 w 123"/>
                <a:gd name="T13" fmla="*/ 136 h 250"/>
                <a:gd name="T14" fmla="*/ 22 w 123"/>
                <a:gd name="T15" fmla="*/ 118 h 250"/>
                <a:gd name="T16" fmla="*/ 22 w 123"/>
                <a:gd name="T17" fmla="*/ 96 h 250"/>
                <a:gd name="T18" fmla="*/ 0 w 123"/>
                <a:gd name="T19" fmla="*/ 83 h 250"/>
                <a:gd name="T20" fmla="*/ 3 w 123"/>
                <a:gd name="T21" fmla="*/ 55 h 250"/>
                <a:gd name="T22" fmla="*/ 15 w 123"/>
                <a:gd name="T23" fmla="*/ 46 h 250"/>
                <a:gd name="T24" fmla="*/ 22 w 123"/>
                <a:gd name="T25" fmla="*/ 44 h 250"/>
                <a:gd name="T26" fmla="*/ 25 w 123"/>
                <a:gd name="T27" fmla="*/ 37 h 250"/>
                <a:gd name="T28" fmla="*/ 34 w 123"/>
                <a:gd name="T29" fmla="*/ 44 h 250"/>
                <a:gd name="T30" fmla="*/ 45 w 123"/>
                <a:gd name="T31" fmla="*/ 37 h 250"/>
                <a:gd name="T32" fmla="*/ 62 w 123"/>
                <a:gd name="T33" fmla="*/ 31 h 250"/>
                <a:gd name="T34" fmla="*/ 65 w 123"/>
                <a:gd name="T35" fmla="*/ 22 h 250"/>
                <a:gd name="T36" fmla="*/ 65 w 123"/>
                <a:gd name="T37" fmla="*/ 6 h 250"/>
                <a:gd name="T38" fmla="*/ 83 w 123"/>
                <a:gd name="T39" fmla="*/ 0 h 250"/>
                <a:gd name="T40" fmla="*/ 114 w 123"/>
                <a:gd name="T41" fmla="*/ 31 h 250"/>
                <a:gd name="T42" fmla="*/ 109 w 123"/>
                <a:gd name="T43" fmla="*/ 37 h 250"/>
                <a:gd name="T44" fmla="*/ 118 w 123"/>
                <a:gd name="T45" fmla="*/ 53 h 250"/>
                <a:gd name="T46" fmla="*/ 118 w 123"/>
                <a:gd name="T47" fmla="*/ 64 h 250"/>
                <a:gd name="T48" fmla="*/ 123 w 123"/>
                <a:gd name="T49" fmla="*/ 74 h 250"/>
                <a:gd name="T50" fmla="*/ 123 w 123"/>
                <a:gd name="T51" fmla="*/ 83 h 250"/>
                <a:gd name="T52" fmla="*/ 118 w 123"/>
                <a:gd name="T53" fmla="*/ 78 h 250"/>
                <a:gd name="T54" fmla="*/ 114 w 123"/>
                <a:gd name="T55" fmla="*/ 87 h 250"/>
                <a:gd name="T56" fmla="*/ 118 w 123"/>
                <a:gd name="T57" fmla="*/ 92 h 250"/>
                <a:gd name="T58" fmla="*/ 114 w 123"/>
                <a:gd name="T59" fmla="*/ 99 h 250"/>
                <a:gd name="T60" fmla="*/ 102 w 123"/>
                <a:gd name="T61" fmla="*/ 106 h 250"/>
                <a:gd name="T62" fmla="*/ 104 w 123"/>
                <a:gd name="T63" fmla="*/ 108 h 250"/>
                <a:gd name="T64" fmla="*/ 95 w 123"/>
                <a:gd name="T65" fmla="*/ 124 h 250"/>
                <a:gd name="T66" fmla="*/ 92 w 123"/>
                <a:gd name="T67" fmla="*/ 136 h 250"/>
                <a:gd name="T68" fmla="*/ 78 w 123"/>
                <a:gd name="T69" fmla="*/ 136 h 250"/>
                <a:gd name="T70" fmla="*/ 74 w 123"/>
                <a:gd name="T71" fmla="*/ 185 h 250"/>
                <a:gd name="T72" fmla="*/ 78 w 123"/>
                <a:gd name="T73" fmla="*/ 217 h 250"/>
                <a:gd name="T74" fmla="*/ 78 w 123"/>
                <a:gd name="T75" fmla="*/ 247 h 250"/>
                <a:gd name="T76" fmla="*/ 34 w 123"/>
                <a:gd name="T77" fmla="*/ 250 h 250"/>
                <a:gd name="T78" fmla="*/ 34 w 123"/>
                <a:gd name="T79" fmla="*/ 250 h 250"/>
                <a:gd name="T80" fmla="*/ 34 w 123"/>
                <a:gd name="T81" fmla="*/ 250 h 250"/>
                <a:gd name="T82" fmla="*/ 34 w 123"/>
                <a:gd name="T83" fmla="*/ 250 h 250"/>
                <a:gd name="T84" fmla="*/ 34 w 123"/>
                <a:gd name="T85" fmla="*/ 25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3" h="250">
                  <a:moveTo>
                    <a:pt x="34" y="250"/>
                  </a:moveTo>
                  <a:lnTo>
                    <a:pt x="40" y="247"/>
                  </a:lnTo>
                  <a:lnTo>
                    <a:pt x="31" y="232"/>
                  </a:lnTo>
                  <a:lnTo>
                    <a:pt x="31" y="220"/>
                  </a:lnTo>
                  <a:lnTo>
                    <a:pt x="34" y="220"/>
                  </a:lnTo>
                  <a:lnTo>
                    <a:pt x="34" y="199"/>
                  </a:lnTo>
                  <a:lnTo>
                    <a:pt x="34" y="136"/>
                  </a:lnTo>
                  <a:lnTo>
                    <a:pt x="22" y="118"/>
                  </a:lnTo>
                  <a:lnTo>
                    <a:pt x="22" y="96"/>
                  </a:lnTo>
                  <a:lnTo>
                    <a:pt x="0" y="83"/>
                  </a:lnTo>
                  <a:lnTo>
                    <a:pt x="3" y="55"/>
                  </a:lnTo>
                  <a:lnTo>
                    <a:pt x="15" y="46"/>
                  </a:lnTo>
                  <a:lnTo>
                    <a:pt x="22" y="44"/>
                  </a:lnTo>
                  <a:lnTo>
                    <a:pt x="25" y="37"/>
                  </a:lnTo>
                  <a:lnTo>
                    <a:pt x="34" y="44"/>
                  </a:lnTo>
                  <a:lnTo>
                    <a:pt x="45" y="37"/>
                  </a:lnTo>
                  <a:lnTo>
                    <a:pt x="62" y="31"/>
                  </a:lnTo>
                  <a:lnTo>
                    <a:pt x="65" y="22"/>
                  </a:lnTo>
                  <a:lnTo>
                    <a:pt x="65" y="6"/>
                  </a:lnTo>
                  <a:lnTo>
                    <a:pt x="83" y="0"/>
                  </a:lnTo>
                  <a:lnTo>
                    <a:pt x="114" y="31"/>
                  </a:lnTo>
                  <a:lnTo>
                    <a:pt x="109" y="37"/>
                  </a:lnTo>
                  <a:lnTo>
                    <a:pt x="118" y="53"/>
                  </a:lnTo>
                  <a:lnTo>
                    <a:pt x="118" y="64"/>
                  </a:lnTo>
                  <a:lnTo>
                    <a:pt x="123" y="74"/>
                  </a:lnTo>
                  <a:lnTo>
                    <a:pt x="123" y="83"/>
                  </a:lnTo>
                  <a:lnTo>
                    <a:pt x="118" y="78"/>
                  </a:lnTo>
                  <a:lnTo>
                    <a:pt x="114" y="87"/>
                  </a:lnTo>
                  <a:lnTo>
                    <a:pt x="118" y="92"/>
                  </a:lnTo>
                  <a:lnTo>
                    <a:pt x="114" y="99"/>
                  </a:lnTo>
                  <a:lnTo>
                    <a:pt x="102" y="106"/>
                  </a:lnTo>
                  <a:lnTo>
                    <a:pt x="104" y="108"/>
                  </a:lnTo>
                  <a:lnTo>
                    <a:pt x="95" y="124"/>
                  </a:lnTo>
                  <a:lnTo>
                    <a:pt x="92" y="136"/>
                  </a:lnTo>
                  <a:lnTo>
                    <a:pt x="78" y="136"/>
                  </a:lnTo>
                  <a:lnTo>
                    <a:pt x="74" y="185"/>
                  </a:lnTo>
                  <a:lnTo>
                    <a:pt x="78" y="217"/>
                  </a:lnTo>
                  <a:lnTo>
                    <a:pt x="78" y="247"/>
                  </a:lnTo>
                  <a:lnTo>
                    <a:pt x="34" y="250"/>
                  </a:lnTo>
                  <a:lnTo>
                    <a:pt x="34" y="250"/>
                  </a:lnTo>
                  <a:lnTo>
                    <a:pt x="34" y="250"/>
                  </a:lnTo>
                  <a:lnTo>
                    <a:pt x="34" y="250"/>
                  </a:lnTo>
                  <a:lnTo>
                    <a:pt x="34" y="25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46DAFA0C-57BC-4680-A58F-55A8B2848469}"/>
                </a:ext>
              </a:extLst>
            </p:cNvPr>
            <p:cNvSpPr>
              <a:spLocks/>
            </p:cNvSpPr>
            <p:nvPr/>
          </p:nvSpPr>
          <p:spPr bwMode="gray">
            <a:xfrm>
              <a:off x="7258940" y="5331661"/>
              <a:ext cx="63147" cy="77076"/>
            </a:xfrm>
            <a:custGeom>
              <a:avLst/>
              <a:gdLst>
                <a:gd name="T0" fmla="*/ 12 w 68"/>
                <a:gd name="T1" fmla="*/ 83 h 83"/>
                <a:gd name="T2" fmla="*/ 12 w 68"/>
                <a:gd name="T3" fmla="*/ 69 h 83"/>
                <a:gd name="T4" fmla="*/ 10 w 68"/>
                <a:gd name="T5" fmla="*/ 62 h 83"/>
                <a:gd name="T6" fmla="*/ 10 w 68"/>
                <a:gd name="T7" fmla="*/ 25 h 83"/>
                <a:gd name="T8" fmla="*/ 0 w 68"/>
                <a:gd name="T9" fmla="*/ 15 h 83"/>
                <a:gd name="T10" fmla="*/ 0 w 68"/>
                <a:gd name="T11" fmla="*/ 15 h 83"/>
                <a:gd name="T12" fmla="*/ 0 w 68"/>
                <a:gd name="T13" fmla="*/ 6 h 83"/>
                <a:gd name="T14" fmla="*/ 3 w 68"/>
                <a:gd name="T15" fmla="*/ 6 h 83"/>
                <a:gd name="T16" fmla="*/ 12 w 68"/>
                <a:gd name="T17" fmla="*/ 11 h 83"/>
                <a:gd name="T18" fmla="*/ 12 w 68"/>
                <a:gd name="T19" fmla="*/ 15 h 83"/>
                <a:gd name="T20" fmla="*/ 30 w 68"/>
                <a:gd name="T21" fmla="*/ 15 h 83"/>
                <a:gd name="T22" fmla="*/ 33 w 68"/>
                <a:gd name="T23" fmla="*/ 0 h 83"/>
                <a:gd name="T24" fmla="*/ 42 w 68"/>
                <a:gd name="T25" fmla="*/ 2 h 83"/>
                <a:gd name="T26" fmla="*/ 50 w 68"/>
                <a:gd name="T27" fmla="*/ 0 h 83"/>
                <a:gd name="T28" fmla="*/ 60 w 68"/>
                <a:gd name="T29" fmla="*/ 0 h 83"/>
                <a:gd name="T30" fmla="*/ 56 w 68"/>
                <a:gd name="T31" fmla="*/ 21 h 83"/>
                <a:gd name="T32" fmla="*/ 56 w 68"/>
                <a:gd name="T33" fmla="*/ 21 h 83"/>
                <a:gd name="T34" fmla="*/ 60 w 68"/>
                <a:gd name="T35" fmla="*/ 21 h 83"/>
                <a:gd name="T36" fmla="*/ 68 w 68"/>
                <a:gd name="T37" fmla="*/ 25 h 83"/>
                <a:gd name="T38" fmla="*/ 68 w 68"/>
                <a:gd name="T39" fmla="*/ 34 h 83"/>
                <a:gd name="T40" fmla="*/ 56 w 68"/>
                <a:gd name="T41" fmla="*/ 46 h 83"/>
                <a:gd name="T42" fmla="*/ 50 w 68"/>
                <a:gd name="T43" fmla="*/ 55 h 83"/>
                <a:gd name="T44" fmla="*/ 50 w 68"/>
                <a:gd name="T45" fmla="*/ 55 h 83"/>
                <a:gd name="T46" fmla="*/ 39 w 68"/>
                <a:gd name="T47" fmla="*/ 74 h 83"/>
                <a:gd name="T48" fmla="*/ 30 w 68"/>
                <a:gd name="T49" fmla="*/ 83 h 83"/>
                <a:gd name="T50" fmla="*/ 12 w 68"/>
                <a:gd name="T51" fmla="*/ 83 h 83"/>
                <a:gd name="T52" fmla="*/ 12 w 68"/>
                <a:gd name="T53" fmla="*/ 83 h 83"/>
                <a:gd name="T54" fmla="*/ 12 w 68"/>
                <a:gd name="T55" fmla="*/ 83 h 83"/>
                <a:gd name="T56" fmla="*/ 12 w 68"/>
                <a:gd name="T57" fmla="*/ 83 h 83"/>
                <a:gd name="T58" fmla="*/ 12 w 68"/>
                <a:gd name="T59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8" h="83">
                  <a:moveTo>
                    <a:pt x="12" y="83"/>
                  </a:moveTo>
                  <a:lnTo>
                    <a:pt x="12" y="69"/>
                  </a:lnTo>
                  <a:lnTo>
                    <a:pt x="10" y="62"/>
                  </a:lnTo>
                  <a:lnTo>
                    <a:pt x="10" y="2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6"/>
                  </a:lnTo>
                  <a:lnTo>
                    <a:pt x="3" y="6"/>
                  </a:lnTo>
                  <a:lnTo>
                    <a:pt x="12" y="11"/>
                  </a:lnTo>
                  <a:lnTo>
                    <a:pt x="12" y="15"/>
                  </a:lnTo>
                  <a:lnTo>
                    <a:pt x="30" y="15"/>
                  </a:lnTo>
                  <a:lnTo>
                    <a:pt x="33" y="0"/>
                  </a:lnTo>
                  <a:lnTo>
                    <a:pt x="42" y="2"/>
                  </a:lnTo>
                  <a:lnTo>
                    <a:pt x="50" y="0"/>
                  </a:lnTo>
                  <a:lnTo>
                    <a:pt x="60" y="0"/>
                  </a:lnTo>
                  <a:lnTo>
                    <a:pt x="56" y="21"/>
                  </a:lnTo>
                  <a:lnTo>
                    <a:pt x="56" y="21"/>
                  </a:lnTo>
                  <a:lnTo>
                    <a:pt x="60" y="21"/>
                  </a:lnTo>
                  <a:lnTo>
                    <a:pt x="68" y="25"/>
                  </a:lnTo>
                  <a:lnTo>
                    <a:pt x="68" y="34"/>
                  </a:lnTo>
                  <a:lnTo>
                    <a:pt x="56" y="46"/>
                  </a:lnTo>
                  <a:lnTo>
                    <a:pt x="50" y="55"/>
                  </a:lnTo>
                  <a:lnTo>
                    <a:pt x="50" y="55"/>
                  </a:lnTo>
                  <a:lnTo>
                    <a:pt x="39" y="74"/>
                  </a:lnTo>
                  <a:lnTo>
                    <a:pt x="30" y="83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8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6" name="Freeform 12">
              <a:extLst>
                <a:ext uri="{FF2B5EF4-FFF2-40B4-BE49-F238E27FC236}">
                  <a16:creationId xmlns:a16="http://schemas.microsoft.com/office/drawing/2014/main" id="{1E3DAC5A-134B-44E9-A5DC-7432475EA4D1}"/>
                </a:ext>
              </a:extLst>
            </p:cNvPr>
            <p:cNvSpPr>
              <a:spLocks/>
            </p:cNvSpPr>
            <p:nvPr/>
          </p:nvSpPr>
          <p:spPr bwMode="gray">
            <a:xfrm>
              <a:off x="6689686" y="4348238"/>
              <a:ext cx="383526" cy="610112"/>
            </a:xfrm>
            <a:custGeom>
              <a:avLst/>
              <a:gdLst>
                <a:gd name="T0" fmla="*/ 10 w 413"/>
                <a:gd name="T1" fmla="*/ 403 h 657"/>
                <a:gd name="T2" fmla="*/ 10 w 413"/>
                <a:gd name="T3" fmla="*/ 369 h 657"/>
                <a:gd name="T4" fmla="*/ 39 w 413"/>
                <a:gd name="T5" fmla="*/ 318 h 657"/>
                <a:gd name="T6" fmla="*/ 91 w 413"/>
                <a:gd name="T7" fmla="*/ 148 h 657"/>
                <a:gd name="T8" fmla="*/ 88 w 413"/>
                <a:gd name="T9" fmla="*/ 111 h 657"/>
                <a:gd name="T10" fmla="*/ 69 w 413"/>
                <a:gd name="T11" fmla="*/ 80 h 657"/>
                <a:gd name="T12" fmla="*/ 60 w 413"/>
                <a:gd name="T13" fmla="*/ 18 h 657"/>
                <a:gd name="T14" fmla="*/ 253 w 413"/>
                <a:gd name="T15" fmla="*/ 76 h 657"/>
                <a:gd name="T16" fmla="*/ 413 w 413"/>
                <a:gd name="T17" fmla="*/ 325 h 657"/>
                <a:gd name="T18" fmla="*/ 373 w 413"/>
                <a:gd name="T19" fmla="*/ 329 h 657"/>
                <a:gd name="T20" fmla="*/ 373 w 413"/>
                <a:gd name="T21" fmla="*/ 347 h 657"/>
                <a:gd name="T22" fmla="*/ 361 w 413"/>
                <a:gd name="T23" fmla="*/ 366 h 657"/>
                <a:gd name="T24" fmla="*/ 359 w 413"/>
                <a:gd name="T25" fmla="*/ 387 h 657"/>
                <a:gd name="T26" fmla="*/ 340 w 413"/>
                <a:gd name="T27" fmla="*/ 403 h 657"/>
                <a:gd name="T28" fmla="*/ 338 w 413"/>
                <a:gd name="T29" fmla="*/ 431 h 657"/>
                <a:gd name="T30" fmla="*/ 338 w 413"/>
                <a:gd name="T31" fmla="*/ 449 h 657"/>
                <a:gd name="T32" fmla="*/ 344 w 413"/>
                <a:gd name="T33" fmla="*/ 443 h 657"/>
                <a:gd name="T34" fmla="*/ 353 w 413"/>
                <a:gd name="T35" fmla="*/ 458 h 657"/>
                <a:gd name="T36" fmla="*/ 359 w 413"/>
                <a:gd name="T37" fmla="*/ 493 h 657"/>
                <a:gd name="T38" fmla="*/ 371 w 413"/>
                <a:gd name="T39" fmla="*/ 495 h 657"/>
                <a:gd name="T40" fmla="*/ 371 w 413"/>
                <a:gd name="T41" fmla="*/ 520 h 657"/>
                <a:gd name="T42" fmla="*/ 323 w 413"/>
                <a:gd name="T43" fmla="*/ 533 h 657"/>
                <a:gd name="T44" fmla="*/ 319 w 413"/>
                <a:gd name="T45" fmla="*/ 552 h 657"/>
                <a:gd name="T46" fmla="*/ 307 w 413"/>
                <a:gd name="T47" fmla="*/ 557 h 657"/>
                <a:gd name="T48" fmla="*/ 277 w 413"/>
                <a:gd name="T49" fmla="*/ 585 h 657"/>
                <a:gd name="T50" fmla="*/ 259 w 413"/>
                <a:gd name="T51" fmla="*/ 589 h 657"/>
                <a:gd name="T52" fmla="*/ 220 w 413"/>
                <a:gd name="T53" fmla="*/ 599 h 657"/>
                <a:gd name="T54" fmla="*/ 223 w 413"/>
                <a:gd name="T55" fmla="*/ 614 h 657"/>
                <a:gd name="T56" fmla="*/ 163 w 413"/>
                <a:gd name="T57" fmla="*/ 638 h 657"/>
                <a:gd name="T58" fmla="*/ 124 w 413"/>
                <a:gd name="T59" fmla="*/ 647 h 657"/>
                <a:gd name="T60" fmla="*/ 118 w 413"/>
                <a:gd name="T61" fmla="*/ 651 h 657"/>
                <a:gd name="T62" fmla="*/ 81 w 413"/>
                <a:gd name="T63" fmla="*/ 657 h 657"/>
                <a:gd name="T64" fmla="*/ 81 w 413"/>
                <a:gd name="T65" fmla="*/ 645 h 657"/>
                <a:gd name="T66" fmla="*/ 33 w 413"/>
                <a:gd name="T67" fmla="*/ 589 h 657"/>
                <a:gd name="T68" fmla="*/ 30 w 413"/>
                <a:gd name="T69" fmla="*/ 557 h 657"/>
                <a:gd name="T70" fmla="*/ 91 w 413"/>
                <a:gd name="T71" fmla="*/ 557 h 657"/>
                <a:gd name="T72" fmla="*/ 64 w 413"/>
                <a:gd name="T73" fmla="*/ 523 h 657"/>
                <a:gd name="T74" fmla="*/ 64 w 413"/>
                <a:gd name="T75" fmla="*/ 495 h 657"/>
                <a:gd name="T76" fmla="*/ 58 w 413"/>
                <a:gd name="T77" fmla="*/ 472 h 657"/>
                <a:gd name="T78" fmla="*/ 43 w 413"/>
                <a:gd name="T79" fmla="*/ 443 h 657"/>
                <a:gd name="T80" fmla="*/ 27 w 413"/>
                <a:gd name="T81" fmla="*/ 431 h 657"/>
                <a:gd name="T82" fmla="*/ 27 w 413"/>
                <a:gd name="T83" fmla="*/ 431 h 657"/>
                <a:gd name="T84" fmla="*/ 27 w 413"/>
                <a:gd name="T85" fmla="*/ 431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13" h="657">
                  <a:moveTo>
                    <a:pt x="27" y="431"/>
                  </a:moveTo>
                  <a:lnTo>
                    <a:pt x="10" y="403"/>
                  </a:lnTo>
                  <a:lnTo>
                    <a:pt x="0" y="371"/>
                  </a:lnTo>
                  <a:lnTo>
                    <a:pt x="10" y="369"/>
                  </a:lnTo>
                  <a:lnTo>
                    <a:pt x="18" y="350"/>
                  </a:lnTo>
                  <a:lnTo>
                    <a:pt x="39" y="318"/>
                  </a:lnTo>
                  <a:lnTo>
                    <a:pt x="81" y="272"/>
                  </a:lnTo>
                  <a:lnTo>
                    <a:pt x="91" y="148"/>
                  </a:lnTo>
                  <a:lnTo>
                    <a:pt x="100" y="129"/>
                  </a:lnTo>
                  <a:lnTo>
                    <a:pt x="88" y="111"/>
                  </a:lnTo>
                  <a:lnTo>
                    <a:pt x="88" y="102"/>
                  </a:lnTo>
                  <a:lnTo>
                    <a:pt x="69" y="80"/>
                  </a:lnTo>
                  <a:lnTo>
                    <a:pt x="69" y="58"/>
                  </a:lnTo>
                  <a:lnTo>
                    <a:pt x="60" y="18"/>
                  </a:lnTo>
                  <a:lnTo>
                    <a:pt x="100" y="0"/>
                  </a:lnTo>
                  <a:lnTo>
                    <a:pt x="253" y="76"/>
                  </a:lnTo>
                  <a:lnTo>
                    <a:pt x="413" y="164"/>
                  </a:lnTo>
                  <a:lnTo>
                    <a:pt x="413" y="325"/>
                  </a:lnTo>
                  <a:lnTo>
                    <a:pt x="380" y="325"/>
                  </a:lnTo>
                  <a:lnTo>
                    <a:pt x="373" y="329"/>
                  </a:lnTo>
                  <a:lnTo>
                    <a:pt x="373" y="338"/>
                  </a:lnTo>
                  <a:lnTo>
                    <a:pt x="373" y="347"/>
                  </a:lnTo>
                  <a:lnTo>
                    <a:pt x="361" y="359"/>
                  </a:lnTo>
                  <a:lnTo>
                    <a:pt x="361" y="366"/>
                  </a:lnTo>
                  <a:lnTo>
                    <a:pt x="353" y="369"/>
                  </a:lnTo>
                  <a:lnTo>
                    <a:pt x="359" y="387"/>
                  </a:lnTo>
                  <a:lnTo>
                    <a:pt x="344" y="396"/>
                  </a:lnTo>
                  <a:lnTo>
                    <a:pt x="340" y="403"/>
                  </a:lnTo>
                  <a:lnTo>
                    <a:pt x="349" y="419"/>
                  </a:lnTo>
                  <a:lnTo>
                    <a:pt x="338" y="431"/>
                  </a:lnTo>
                  <a:lnTo>
                    <a:pt x="328" y="443"/>
                  </a:lnTo>
                  <a:lnTo>
                    <a:pt x="338" y="449"/>
                  </a:lnTo>
                  <a:lnTo>
                    <a:pt x="340" y="449"/>
                  </a:lnTo>
                  <a:lnTo>
                    <a:pt x="344" y="443"/>
                  </a:lnTo>
                  <a:lnTo>
                    <a:pt x="353" y="449"/>
                  </a:lnTo>
                  <a:lnTo>
                    <a:pt x="353" y="458"/>
                  </a:lnTo>
                  <a:lnTo>
                    <a:pt x="361" y="474"/>
                  </a:lnTo>
                  <a:lnTo>
                    <a:pt x="359" y="493"/>
                  </a:lnTo>
                  <a:lnTo>
                    <a:pt x="368" y="495"/>
                  </a:lnTo>
                  <a:lnTo>
                    <a:pt x="371" y="495"/>
                  </a:lnTo>
                  <a:lnTo>
                    <a:pt x="373" y="505"/>
                  </a:lnTo>
                  <a:lnTo>
                    <a:pt x="371" y="520"/>
                  </a:lnTo>
                  <a:lnTo>
                    <a:pt x="353" y="514"/>
                  </a:lnTo>
                  <a:lnTo>
                    <a:pt x="323" y="533"/>
                  </a:lnTo>
                  <a:lnTo>
                    <a:pt x="323" y="546"/>
                  </a:lnTo>
                  <a:lnTo>
                    <a:pt x="319" y="552"/>
                  </a:lnTo>
                  <a:lnTo>
                    <a:pt x="311" y="557"/>
                  </a:lnTo>
                  <a:lnTo>
                    <a:pt x="307" y="557"/>
                  </a:lnTo>
                  <a:lnTo>
                    <a:pt x="290" y="583"/>
                  </a:lnTo>
                  <a:lnTo>
                    <a:pt x="277" y="585"/>
                  </a:lnTo>
                  <a:lnTo>
                    <a:pt x="272" y="595"/>
                  </a:lnTo>
                  <a:lnTo>
                    <a:pt x="259" y="589"/>
                  </a:lnTo>
                  <a:lnTo>
                    <a:pt x="253" y="595"/>
                  </a:lnTo>
                  <a:lnTo>
                    <a:pt x="220" y="599"/>
                  </a:lnTo>
                  <a:lnTo>
                    <a:pt x="215" y="604"/>
                  </a:lnTo>
                  <a:lnTo>
                    <a:pt x="223" y="614"/>
                  </a:lnTo>
                  <a:lnTo>
                    <a:pt x="201" y="636"/>
                  </a:lnTo>
                  <a:lnTo>
                    <a:pt x="163" y="638"/>
                  </a:lnTo>
                  <a:lnTo>
                    <a:pt x="133" y="657"/>
                  </a:lnTo>
                  <a:lnTo>
                    <a:pt x="124" y="647"/>
                  </a:lnTo>
                  <a:lnTo>
                    <a:pt x="124" y="645"/>
                  </a:lnTo>
                  <a:lnTo>
                    <a:pt x="118" y="651"/>
                  </a:lnTo>
                  <a:lnTo>
                    <a:pt x="100" y="657"/>
                  </a:lnTo>
                  <a:lnTo>
                    <a:pt x="81" y="657"/>
                  </a:lnTo>
                  <a:lnTo>
                    <a:pt x="88" y="647"/>
                  </a:lnTo>
                  <a:lnTo>
                    <a:pt x="81" y="645"/>
                  </a:lnTo>
                  <a:lnTo>
                    <a:pt x="69" y="617"/>
                  </a:lnTo>
                  <a:lnTo>
                    <a:pt x="33" y="589"/>
                  </a:lnTo>
                  <a:lnTo>
                    <a:pt x="22" y="574"/>
                  </a:lnTo>
                  <a:lnTo>
                    <a:pt x="30" y="557"/>
                  </a:lnTo>
                  <a:lnTo>
                    <a:pt x="51" y="557"/>
                  </a:lnTo>
                  <a:lnTo>
                    <a:pt x="91" y="557"/>
                  </a:lnTo>
                  <a:lnTo>
                    <a:pt x="79" y="546"/>
                  </a:lnTo>
                  <a:lnTo>
                    <a:pt x="64" y="523"/>
                  </a:lnTo>
                  <a:lnTo>
                    <a:pt x="64" y="505"/>
                  </a:lnTo>
                  <a:lnTo>
                    <a:pt x="64" y="495"/>
                  </a:lnTo>
                  <a:lnTo>
                    <a:pt x="64" y="472"/>
                  </a:lnTo>
                  <a:lnTo>
                    <a:pt x="58" y="472"/>
                  </a:lnTo>
                  <a:lnTo>
                    <a:pt x="58" y="449"/>
                  </a:lnTo>
                  <a:lnTo>
                    <a:pt x="43" y="443"/>
                  </a:lnTo>
                  <a:lnTo>
                    <a:pt x="39" y="431"/>
                  </a:lnTo>
                  <a:lnTo>
                    <a:pt x="27" y="431"/>
                  </a:lnTo>
                  <a:lnTo>
                    <a:pt x="27" y="431"/>
                  </a:lnTo>
                  <a:lnTo>
                    <a:pt x="27" y="431"/>
                  </a:lnTo>
                  <a:lnTo>
                    <a:pt x="27" y="431"/>
                  </a:lnTo>
                  <a:lnTo>
                    <a:pt x="27" y="43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7" name="Freeform 13">
              <a:extLst>
                <a:ext uri="{FF2B5EF4-FFF2-40B4-BE49-F238E27FC236}">
                  <a16:creationId xmlns:a16="http://schemas.microsoft.com/office/drawing/2014/main" id="{4329E217-D3C9-4582-866D-BCEDEC607D35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5181" y="5103217"/>
              <a:ext cx="271161" cy="327808"/>
            </a:xfrm>
            <a:custGeom>
              <a:avLst/>
              <a:gdLst>
                <a:gd name="T0" fmla="*/ 69 w 292"/>
                <a:gd name="T1" fmla="*/ 330 h 353"/>
                <a:gd name="T2" fmla="*/ 60 w 292"/>
                <a:gd name="T3" fmla="*/ 334 h 353"/>
                <a:gd name="T4" fmla="*/ 48 w 292"/>
                <a:gd name="T5" fmla="*/ 343 h 353"/>
                <a:gd name="T6" fmla="*/ 33 w 292"/>
                <a:gd name="T7" fmla="*/ 353 h 353"/>
                <a:gd name="T8" fmla="*/ 27 w 292"/>
                <a:gd name="T9" fmla="*/ 334 h 353"/>
                <a:gd name="T10" fmla="*/ 3 w 292"/>
                <a:gd name="T11" fmla="*/ 299 h 353"/>
                <a:gd name="T12" fmla="*/ 27 w 292"/>
                <a:gd name="T13" fmla="*/ 299 h 353"/>
                <a:gd name="T14" fmla="*/ 29 w 292"/>
                <a:gd name="T15" fmla="*/ 293 h 353"/>
                <a:gd name="T16" fmla="*/ 22 w 292"/>
                <a:gd name="T17" fmla="*/ 281 h 353"/>
                <a:gd name="T18" fmla="*/ 22 w 292"/>
                <a:gd name="T19" fmla="*/ 262 h 353"/>
                <a:gd name="T20" fmla="*/ 22 w 292"/>
                <a:gd name="T21" fmla="*/ 253 h 353"/>
                <a:gd name="T22" fmla="*/ 27 w 292"/>
                <a:gd name="T23" fmla="*/ 249 h 353"/>
                <a:gd name="T24" fmla="*/ 39 w 292"/>
                <a:gd name="T25" fmla="*/ 249 h 353"/>
                <a:gd name="T26" fmla="*/ 51 w 292"/>
                <a:gd name="T27" fmla="*/ 228 h 353"/>
                <a:gd name="T28" fmla="*/ 60 w 292"/>
                <a:gd name="T29" fmla="*/ 222 h 353"/>
                <a:gd name="T30" fmla="*/ 72 w 292"/>
                <a:gd name="T31" fmla="*/ 247 h 353"/>
                <a:gd name="T32" fmla="*/ 102 w 292"/>
                <a:gd name="T33" fmla="*/ 237 h 353"/>
                <a:gd name="T34" fmla="*/ 118 w 292"/>
                <a:gd name="T35" fmla="*/ 249 h 353"/>
                <a:gd name="T36" fmla="*/ 130 w 292"/>
                <a:gd name="T37" fmla="*/ 228 h 353"/>
                <a:gd name="T38" fmla="*/ 130 w 292"/>
                <a:gd name="T39" fmla="*/ 191 h 353"/>
                <a:gd name="T40" fmla="*/ 130 w 292"/>
                <a:gd name="T41" fmla="*/ 168 h 353"/>
                <a:gd name="T42" fmla="*/ 118 w 292"/>
                <a:gd name="T43" fmla="*/ 159 h 353"/>
                <a:gd name="T44" fmla="*/ 109 w 292"/>
                <a:gd name="T45" fmla="*/ 157 h 353"/>
                <a:gd name="T46" fmla="*/ 118 w 292"/>
                <a:gd name="T47" fmla="*/ 129 h 353"/>
                <a:gd name="T48" fmla="*/ 133 w 292"/>
                <a:gd name="T49" fmla="*/ 113 h 353"/>
                <a:gd name="T50" fmla="*/ 102 w 292"/>
                <a:gd name="T51" fmla="*/ 94 h 353"/>
                <a:gd name="T52" fmla="*/ 81 w 292"/>
                <a:gd name="T53" fmla="*/ 94 h 353"/>
                <a:gd name="T54" fmla="*/ 87 w 292"/>
                <a:gd name="T55" fmla="*/ 63 h 353"/>
                <a:gd name="T56" fmla="*/ 149 w 292"/>
                <a:gd name="T57" fmla="*/ 67 h 353"/>
                <a:gd name="T58" fmla="*/ 193 w 292"/>
                <a:gd name="T59" fmla="*/ 86 h 353"/>
                <a:gd name="T60" fmla="*/ 193 w 292"/>
                <a:gd name="T61" fmla="*/ 63 h 353"/>
                <a:gd name="T62" fmla="*/ 212 w 292"/>
                <a:gd name="T63" fmla="*/ 35 h 353"/>
                <a:gd name="T64" fmla="*/ 215 w 292"/>
                <a:gd name="T65" fmla="*/ 4 h 353"/>
                <a:gd name="T66" fmla="*/ 250 w 292"/>
                <a:gd name="T67" fmla="*/ 0 h 353"/>
                <a:gd name="T68" fmla="*/ 262 w 292"/>
                <a:gd name="T69" fmla="*/ 4 h 353"/>
                <a:gd name="T70" fmla="*/ 276 w 292"/>
                <a:gd name="T71" fmla="*/ 11 h 353"/>
                <a:gd name="T72" fmla="*/ 292 w 292"/>
                <a:gd name="T73" fmla="*/ 11 h 353"/>
                <a:gd name="T74" fmla="*/ 272 w 292"/>
                <a:gd name="T75" fmla="*/ 58 h 353"/>
                <a:gd name="T76" fmla="*/ 269 w 292"/>
                <a:gd name="T77" fmla="*/ 113 h 353"/>
                <a:gd name="T78" fmla="*/ 259 w 292"/>
                <a:gd name="T79" fmla="*/ 157 h 353"/>
                <a:gd name="T80" fmla="*/ 245 w 292"/>
                <a:gd name="T81" fmla="*/ 191 h 353"/>
                <a:gd name="T82" fmla="*/ 212 w 292"/>
                <a:gd name="T83" fmla="*/ 228 h 353"/>
                <a:gd name="T84" fmla="*/ 203 w 292"/>
                <a:gd name="T85" fmla="*/ 284 h 353"/>
                <a:gd name="T86" fmla="*/ 172 w 292"/>
                <a:gd name="T87" fmla="*/ 311 h 353"/>
                <a:gd name="T88" fmla="*/ 160 w 292"/>
                <a:gd name="T89" fmla="*/ 325 h 353"/>
                <a:gd name="T90" fmla="*/ 139 w 292"/>
                <a:gd name="T91" fmla="*/ 346 h 353"/>
                <a:gd name="T92" fmla="*/ 130 w 292"/>
                <a:gd name="T93" fmla="*/ 334 h 353"/>
                <a:gd name="T94" fmla="*/ 130 w 292"/>
                <a:gd name="T95" fmla="*/ 325 h 353"/>
                <a:gd name="T96" fmla="*/ 102 w 292"/>
                <a:gd name="T97" fmla="*/ 330 h 353"/>
                <a:gd name="T98" fmla="*/ 93 w 292"/>
                <a:gd name="T99" fmla="*/ 343 h 353"/>
                <a:gd name="T100" fmla="*/ 79 w 292"/>
                <a:gd name="T101" fmla="*/ 334 h 353"/>
                <a:gd name="T102" fmla="*/ 79 w 292"/>
                <a:gd name="T103" fmla="*/ 339 h 353"/>
                <a:gd name="T104" fmla="*/ 79 w 292"/>
                <a:gd name="T105" fmla="*/ 339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92" h="353">
                  <a:moveTo>
                    <a:pt x="79" y="339"/>
                  </a:moveTo>
                  <a:lnTo>
                    <a:pt x="69" y="330"/>
                  </a:lnTo>
                  <a:lnTo>
                    <a:pt x="64" y="330"/>
                  </a:lnTo>
                  <a:lnTo>
                    <a:pt x="60" y="334"/>
                  </a:lnTo>
                  <a:lnTo>
                    <a:pt x="51" y="339"/>
                  </a:lnTo>
                  <a:lnTo>
                    <a:pt x="48" y="343"/>
                  </a:lnTo>
                  <a:lnTo>
                    <a:pt x="43" y="343"/>
                  </a:lnTo>
                  <a:lnTo>
                    <a:pt x="33" y="353"/>
                  </a:lnTo>
                  <a:lnTo>
                    <a:pt x="27" y="343"/>
                  </a:lnTo>
                  <a:lnTo>
                    <a:pt x="27" y="334"/>
                  </a:lnTo>
                  <a:lnTo>
                    <a:pt x="0" y="309"/>
                  </a:lnTo>
                  <a:lnTo>
                    <a:pt x="3" y="299"/>
                  </a:lnTo>
                  <a:lnTo>
                    <a:pt x="18" y="293"/>
                  </a:lnTo>
                  <a:lnTo>
                    <a:pt x="27" y="299"/>
                  </a:lnTo>
                  <a:lnTo>
                    <a:pt x="29" y="299"/>
                  </a:lnTo>
                  <a:lnTo>
                    <a:pt x="29" y="293"/>
                  </a:lnTo>
                  <a:lnTo>
                    <a:pt x="33" y="284"/>
                  </a:lnTo>
                  <a:lnTo>
                    <a:pt x="22" y="281"/>
                  </a:lnTo>
                  <a:lnTo>
                    <a:pt x="27" y="272"/>
                  </a:lnTo>
                  <a:lnTo>
                    <a:pt x="22" y="262"/>
                  </a:lnTo>
                  <a:lnTo>
                    <a:pt x="18" y="268"/>
                  </a:lnTo>
                  <a:lnTo>
                    <a:pt x="22" y="253"/>
                  </a:lnTo>
                  <a:lnTo>
                    <a:pt x="18" y="247"/>
                  </a:lnTo>
                  <a:lnTo>
                    <a:pt x="27" y="249"/>
                  </a:lnTo>
                  <a:lnTo>
                    <a:pt x="33" y="247"/>
                  </a:lnTo>
                  <a:lnTo>
                    <a:pt x="39" y="249"/>
                  </a:lnTo>
                  <a:lnTo>
                    <a:pt x="51" y="247"/>
                  </a:lnTo>
                  <a:lnTo>
                    <a:pt x="51" y="228"/>
                  </a:lnTo>
                  <a:lnTo>
                    <a:pt x="57" y="228"/>
                  </a:lnTo>
                  <a:lnTo>
                    <a:pt x="60" y="222"/>
                  </a:lnTo>
                  <a:lnTo>
                    <a:pt x="69" y="228"/>
                  </a:lnTo>
                  <a:lnTo>
                    <a:pt x="72" y="247"/>
                  </a:lnTo>
                  <a:lnTo>
                    <a:pt x="93" y="249"/>
                  </a:lnTo>
                  <a:lnTo>
                    <a:pt x="102" y="237"/>
                  </a:lnTo>
                  <a:lnTo>
                    <a:pt x="109" y="249"/>
                  </a:lnTo>
                  <a:lnTo>
                    <a:pt x="118" y="249"/>
                  </a:lnTo>
                  <a:lnTo>
                    <a:pt x="123" y="231"/>
                  </a:lnTo>
                  <a:lnTo>
                    <a:pt x="130" y="228"/>
                  </a:lnTo>
                  <a:lnTo>
                    <a:pt x="133" y="200"/>
                  </a:lnTo>
                  <a:lnTo>
                    <a:pt x="130" y="191"/>
                  </a:lnTo>
                  <a:lnTo>
                    <a:pt x="133" y="175"/>
                  </a:lnTo>
                  <a:lnTo>
                    <a:pt x="130" y="168"/>
                  </a:lnTo>
                  <a:lnTo>
                    <a:pt x="121" y="168"/>
                  </a:lnTo>
                  <a:lnTo>
                    <a:pt x="118" y="159"/>
                  </a:lnTo>
                  <a:lnTo>
                    <a:pt x="109" y="159"/>
                  </a:lnTo>
                  <a:lnTo>
                    <a:pt x="109" y="157"/>
                  </a:lnTo>
                  <a:lnTo>
                    <a:pt x="112" y="138"/>
                  </a:lnTo>
                  <a:lnTo>
                    <a:pt x="118" y="129"/>
                  </a:lnTo>
                  <a:lnTo>
                    <a:pt x="123" y="125"/>
                  </a:lnTo>
                  <a:lnTo>
                    <a:pt x="133" y="113"/>
                  </a:lnTo>
                  <a:lnTo>
                    <a:pt x="121" y="94"/>
                  </a:lnTo>
                  <a:lnTo>
                    <a:pt x="102" y="94"/>
                  </a:lnTo>
                  <a:lnTo>
                    <a:pt x="81" y="104"/>
                  </a:lnTo>
                  <a:lnTo>
                    <a:pt x="81" y="94"/>
                  </a:lnTo>
                  <a:lnTo>
                    <a:pt x="79" y="83"/>
                  </a:lnTo>
                  <a:lnTo>
                    <a:pt x="87" y="63"/>
                  </a:lnTo>
                  <a:lnTo>
                    <a:pt x="133" y="63"/>
                  </a:lnTo>
                  <a:lnTo>
                    <a:pt x="149" y="67"/>
                  </a:lnTo>
                  <a:lnTo>
                    <a:pt x="182" y="72"/>
                  </a:lnTo>
                  <a:lnTo>
                    <a:pt x="193" y="86"/>
                  </a:lnTo>
                  <a:lnTo>
                    <a:pt x="199" y="83"/>
                  </a:lnTo>
                  <a:lnTo>
                    <a:pt x="193" y="63"/>
                  </a:lnTo>
                  <a:lnTo>
                    <a:pt x="199" y="58"/>
                  </a:lnTo>
                  <a:lnTo>
                    <a:pt x="212" y="35"/>
                  </a:lnTo>
                  <a:lnTo>
                    <a:pt x="212" y="23"/>
                  </a:lnTo>
                  <a:lnTo>
                    <a:pt x="215" y="4"/>
                  </a:lnTo>
                  <a:lnTo>
                    <a:pt x="245" y="4"/>
                  </a:lnTo>
                  <a:lnTo>
                    <a:pt x="250" y="0"/>
                  </a:lnTo>
                  <a:lnTo>
                    <a:pt x="262" y="4"/>
                  </a:lnTo>
                  <a:lnTo>
                    <a:pt x="262" y="4"/>
                  </a:lnTo>
                  <a:lnTo>
                    <a:pt x="276" y="4"/>
                  </a:lnTo>
                  <a:lnTo>
                    <a:pt x="276" y="11"/>
                  </a:lnTo>
                  <a:lnTo>
                    <a:pt x="290" y="0"/>
                  </a:lnTo>
                  <a:lnTo>
                    <a:pt x="292" y="11"/>
                  </a:lnTo>
                  <a:lnTo>
                    <a:pt x="292" y="23"/>
                  </a:lnTo>
                  <a:lnTo>
                    <a:pt x="272" y="58"/>
                  </a:lnTo>
                  <a:lnTo>
                    <a:pt x="272" y="88"/>
                  </a:lnTo>
                  <a:lnTo>
                    <a:pt x="269" y="113"/>
                  </a:lnTo>
                  <a:lnTo>
                    <a:pt x="269" y="134"/>
                  </a:lnTo>
                  <a:lnTo>
                    <a:pt x="259" y="157"/>
                  </a:lnTo>
                  <a:lnTo>
                    <a:pt x="259" y="175"/>
                  </a:lnTo>
                  <a:lnTo>
                    <a:pt x="245" y="191"/>
                  </a:lnTo>
                  <a:lnTo>
                    <a:pt x="224" y="200"/>
                  </a:lnTo>
                  <a:lnTo>
                    <a:pt x="212" y="228"/>
                  </a:lnTo>
                  <a:lnTo>
                    <a:pt x="199" y="237"/>
                  </a:lnTo>
                  <a:lnTo>
                    <a:pt x="203" y="284"/>
                  </a:lnTo>
                  <a:lnTo>
                    <a:pt x="184" y="309"/>
                  </a:lnTo>
                  <a:lnTo>
                    <a:pt x="172" y="311"/>
                  </a:lnTo>
                  <a:lnTo>
                    <a:pt x="172" y="321"/>
                  </a:lnTo>
                  <a:lnTo>
                    <a:pt x="160" y="325"/>
                  </a:lnTo>
                  <a:lnTo>
                    <a:pt x="149" y="343"/>
                  </a:lnTo>
                  <a:lnTo>
                    <a:pt x="139" y="346"/>
                  </a:lnTo>
                  <a:lnTo>
                    <a:pt x="130" y="346"/>
                  </a:lnTo>
                  <a:lnTo>
                    <a:pt x="130" y="334"/>
                  </a:lnTo>
                  <a:lnTo>
                    <a:pt x="133" y="330"/>
                  </a:lnTo>
                  <a:lnTo>
                    <a:pt x="130" y="325"/>
                  </a:lnTo>
                  <a:lnTo>
                    <a:pt x="112" y="330"/>
                  </a:lnTo>
                  <a:lnTo>
                    <a:pt x="102" y="330"/>
                  </a:lnTo>
                  <a:lnTo>
                    <a:pt x="102" y="343"/>
                  </a:lnTo>
                  <a:lnTo>
                    <a:pt x="93" y="343"/>
                  </a:lnTo>
                  <a:lnTo>
                    <a:pt x="90" y="346"/>
                  </a:lnTo>
                  <a:lnTo>
                    <a:pt x="79" y="334"/>
                  </a:lnTo>
                  <a:lnTo>
                    <a:pt x="79" y="339"/>
                  </a:lnTo>
                  <a:lnTo>
                    <a:pt x="79" y="339"/>
                  </a:lnTo>
                  <a:lnTo>
                    <a:pt x="79" y="339"/>
                  </a:lnTo>
                  <a:lnTo>
                    <a:pt x="79" y="339"/>
                  </a:lnTo>
                  <a:lnTo>
                    <a:pt x="79" y="339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8" name="Freeform 14">
              <a:extLst>
                <a:ext uri="{FF2B5EF4-FFF2-40B4-BE49-F238E27FC236}">
                  <a16:creationId xmlns:a16="http://schemas.microsoft.com/office/drawing/2014/main" id="{5EE4E983-E067-422E-BE2F-4B2583D2E8F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644183" y="5038213"/>
              <a:ext cx="700191" cy="712262"/>
            </a:xfrm>
            <a:custGeom>
              <a:avLst/>
              <a:gdLst>
                <a:gd name="T0" fmla="*/ 21 w 754"/>
                <a:gd name="T1" fmla="*/ 460 h 767"/>
                <a:gd name="T2" fmla="*/ 16 w 754"/>
                <a:gd name="T3" fmla="*/ 420 h 767"/>
                <a:gd name="T4" fmla="*/ 49 w 754"/>
                <a:gd name="T5" fmla="*/ 414 h 767"/>
                <a:gd name="T6" fmla="*/ 70 w 754"/>
                <a:gd name="T7" fmla="*/ 398 h 767"/>
                <a:gd name="T8" fmla="*/ 89 w 754"/>
                <a:gd name="T9" fmla="*/ 414 h 767"/>
                <a:gd name="T10" fmla="*/ 131 w 754"/>
                <a:gd name="T11" fmla="*/ 389 h 767"/>
                <a:gd name="T12" fmla="*/ 158 w 754"/>
                <a:gd name="T13" fmla="*/ 305 h 767"/>
                <a:gd name="T14" fmla="*/ 219 w 754"/>
                <a:gd name="T15" fmla="*/ 243 h 767"/>
                <a:gd name="T16" fmla="*/ 230 w 754"/>
                <a:gd name="T17" fmla="*/ 155 h 767"/>
                <a:gd name="T18" fmla="*/ 257 w 754"/>
                <a:gd name="T19" fmla="*/ 56 h 767"/>
                <a:gd name="T20" fmla="*/ 282 w 754"/>
                <a:gd name="T21" fmla="*/ 9 h 767"/>
                <a:gd name="T22" fmla="*/ 330 w 754"/>
                <a:gd name="T23" fmla="*/ 39 h 767"/>
                <a:gd name="T24" fmla="*/ 400 w 754"/>
                <a:gd name="T25" fmla="*/ 49 h 767"/>
                <a:gd name="T26" fmla="*/ 421 w 754"/>
                <a:gd name="T27" fmla="*/ 25 h 767"/>
                <a:gd name="T28" fmla="*/ 481 w 754"/>
                <a:gd name="T29" fmla="*/ 9 h 767"/>
                <a:gd name="T30" fmla="*/ 523 w 754"/>
                <a:gd name="T31" fmla="*/ 0 h 767"/>
                <a:gd name="T32" fmla="*/ 572 w 754"/>
                <a:gd name="T33" fmla="*/ 9 h 767"/>
                <a:gd name="T34" fmla="*/ 612 w 754"/>
                <a:gd name="T35" fmla="*/ 25 h 767"/>
                <a:gd name="T36" fmla="*/ 672 w 754"/>
                <a:gd name="T37" fmla="*/ 39 h 767"/>
                <a:gd name="T38" fmla="*/ 693 w 754"/>
                <a:gd name="T39" fmla="*/ 39 h 767"/>
                <a:gd name="T40" fmla="*/ 724 w 754"/>
                <a:gd name="T41" fmla="*/ 71 h 767"/>
                <a:gd name="T42" fmla="*/ 735 w 754"/>
                <a:gd name="T43" fmla="*/ 81 h 767"/>
                <a:gd name="T44" fmla="*/ 735 w 754"/>
                <a:gd name="T45" fmla="*/ 120 h 767"/>
                <a:gd name="T46" fmla="*/ 711 w 754"/>
                <a:gd name="T47" fmla="*/ 171 h 767"/>
                <a:gd name="T48" fmla="*/ 690 w 754"/>
                <a:gd name="T49" fmla="*/ 215 h 767"/>
                <a:gd name="T50" fmla="*/ 666 w 754"/>
                <a:gd name="T51" fmla="*/ 296 h 767"/>
                <a:gd name="T52" fmla="*/ 662 w 754"/>
                <a:gd name="T53" fmla="*/ 330 h 767"/>
                <a:gd name="T54" fmla="*/ 676 w 754"/>
                <a:gd name="T55" fmla="*/ 383 h 767"/>
                <a:gd name="T56" fmla="*/ 681 w 754"/>
                <a:gd name="T57" fmla="*/ 460 h 767"/>
                <a:gd name="T58" fmla="*/ 714 w 754"/>
                <a:gd name="T59" fmla="*/ 508 h 767"/>
                <a:gd name="T60" fmla="*/ 655 w 754"/>
                <a:gd name="T61" fmla="*/ 576 h 767"/>
                <a:gd name="T62" fmla="*/ 645 w 754"/>
                <a:gd name="T63" fmla="*/ 633 h 767"/>
                <a:gd name="T64" fmla="*/ 641 w 754"/>
                <a:gd name="T65" fmla="*/ 701 h 767"/>
                <a:gd name="T66" fmla="*/ 681 w 754"/>
                <a:gd name="T67" fmla="*/ 723 h 767"/>
                <a:gd name="T68" fmla="*/ 684 w 754"/>
                <a:gd name="T69" fmla="*/ 763 h 767"/>
                <a:gd name="T70" fmla="*/ 662 w 754"/>
                <a:gd name="T71" fmla="*/ 763 h 767"/>
                <a:gd name="T72" fmla="*/ 615 w 754"/>
                <a:gd name="T73" fmla="*/ 719 h 767"/>
                <a:gd name="T74" fmla="*/ 591 w 754"/>
                <a:gd name="T75" fmla="*/ 688 h 767"/>
                <a:gd name="T76" fmla="*/ 542 w 754"/>
                <a:gd name="T77" fmla="*/ 701 h 767"/>
                <a:gd name="T78" fmla="*/ 494 w 754"/>
                <a:gd name="T79" fmla="*/ 679 h 767"/>
                <a:gd name="T80" fmla="*/ 464 w 754"/>
                <a:gd name="T81" fmla="*/ 661 h 767"/>
                <a:gd name="T82" fmla="*/ 409 w 754"/>
                <a:gd name="T83" fmla="*/ 664 h 767"/>
                <a:gd name="T84" fmla="*/ 400 w 754"/>
                <a:gd name="T85" fmla="*/ 638 h 767"/>
                <a:gd name="T86" fmla="*/ 381 w 754"/>
                <a:gd name="T87" fmla="*/ 563 h 767"/>
                <a:gd name="T88" fmla="*/ 330 w 754"/>
                <a:gd name="T89" fmla="*/ 513 h 767"/>
                <a:gd name="T90" fmla="*/ 292 w 754"/>
                <a:gd name="T91" fmla="*/ 501 h 767"/>
                <a:gd name="T92" fmla="*/ 249 w 754"/>
                <a:gd name="T93" fmla="*/ 539 h 767"/>
                <a:gd name="T94" fmla="*/ 228 w 754"/>
                <a:gd name="T95" fmla="*/ 545 h 767"/>
                <a:gd name="T96" fmla="*/ 179 w 754"/>
                <a:gd name="T97" fmla="*/ 476 h 767"/>
                <a:gd name="T98" fmla="*/ 152 w 754"/>
                <a:gd name="T99" fmla="*/ 455 h 767"/>
                <a:gd name="T100" fmla="*/ 21 w 754"/>
                <a:gd name="T101" fmla="*/ 460 h 767"/>
                <a:gd name="T102" fmla="*/ 21 w 754"/>
                <a:gd name="T103" fmla="*/ 460 h 7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754" h="767">
                  <a:moveTo>
                    <a:pt x="152" y="455"/>
                  </a:moveTo>
                  <a:lnTo>
                    <a:pt x="40" y="455"/>
                  </a:lnTo>
                  <a:lnTo>
                    <a:pt x="28" y="455"/>
                  </a:lnTo>
                  <a:lnTo>
                    <a:pt x="21" y="460"/>
                  </a:lnTo>
                  <a:lnTo>
                    <a:pt x="9" y="460"/>
                  </a:lnTo>
                  <a:lnTo>
                    <a:pt x="0" y="451"/>
                  </a:lnTo>
                  <a:lnTo>
                    <a:pt x="16" y="451"/>
                  </a:lnTo>
                  <a:lnTo>
                    <a:pt x="16" y="420"/>
                  </a:lnTo>
                  <a:lnTo>
                    <a:pt x="28" y="411"/>
                  </a:lnTo>
                  <a:lnTo>
                    <a:pt x="37" y="407"/>
                  </a:lnTo>
                  <a:lnTo>
                    <a:pt x="37" y="402"/>
                  </a:lnTo>
                  <a:lnTo>
                    <a:pt x="49" y="414"/>
                  </a:lnTo>
                  <a:lnTo>
                    <a:pt x="52" y="411"/>
                  </a:lnTo>
                  <a:lnTo>
                    <a:pt x="61" y="411"/>
                  </a:lnTo>
                  <a:lnTo>
                    <a:pt x="61" y="398"/>
                  </a:lnTo>
                  <a:lnTo>
                    <a:pt x="70" y="398"/>
                  </a:lnTo>
                  <a:lnTo>
                    <a:pt x="89" y="393"/>
                  </a:lnTo>
                  <a:lnTo>
                    <a:pt x="91" y="398"/>
                  </a:lnTo>
                  <a:lnTo>
                    <a:pt x="89" y="402"/>
                  </a:lnTo>
                  <a:lnTo>
                    <a:pt x="89" y="414"/>
                  </a:lnTo>
                  <a:lnTo>
                    <a:pt x="96" y="414"/>
                  </a:lnTo>
                  <a:lnTo>
                    <a:pt x="106" y="411"/>
                  </a:lnTo>
                  <a:lnTo>
                    <a:pt x="118" y="393"/>
                  </a:lnTo>
                  <a:lnTo>
                    <a:pt x="131" y="389"/>
                  </a:lnTo>
                  <a:lnTo>
                    <a:pt x="131" y="379"/>
                  </a:lnTo>
                  <a:lnTo>
                    <a:pt x="143" y="376"/>
                  </a:lnTo>
                  <a:lnTo>
                    <a:pt x="160" y="351"/>
                  </a:lnTo>
                  <a:lnTo>
                    <a:pt x="158" y="305"/>
                  </a:lnTo>
                  <a:lnTo>
                    <a:pt x="169" y="296"/>
                  </a:lnTo>
                  <a:lnTo>
                    <a:pt x="182" y="268"/>
                  </a:lnTo>
                  <a:lnTo>
                    <a:pt x="202" y="258"/>
                  </a:lnTo>
                  <a:lnTo>
                    <a:pt x="219" y="243"/>
                  </a:lnTo>
                  <a:lnTo>
                    <a:pt x="219" y="224"/>
                  </a:lnTo>
                  <a:lnTo>
                    <a:pt x="228" y="202"/>
                  </a:lnTo>
                  <a:lnTo>
                    <a:pt x="228" y="180"/>
                  </a:lnTo>
                  <a:lnTo>
                    <a:pt x="230" y="155"/>
                  </a:lnTo>
                  <a:lnTo>
                    <a:pt x="230" y="125"/>
                  </a:lnTo>
                  <a:lnTo>
                    <a:pt x="252" y="90"/>
                  </a:lnTo>
                  <a:lnTo>
                    <a:pt x="252" y="78"/>
                  </a:lnTo>
                  <a:lnTo>
                    <a:pt x="257" y="56"/>
                  </a:lnTo>
                  <a:lnTo>
                    <a:pt x="252" y="39"/>
                  </a:lnTo>
                  <a:lnTo>
                    <a:pt x="257" y="39"/>
                  </a:lnTo>
                  <a:lnTo>
                    <a:pt x="270" y="19"/>
                  </a:lnTo>
                  <a:lnTo>
                    <a:pt x="282" y="9"/>
                  </a:lnTo>
                  <a:lnTo>
                    <a:pt x="299" y="9"/>
                  </a:lnTo>
                  <a:lnTo>
                    <a:pt x="321" y="25"/>
                  </a:lnTo>
                  <a:lnTo>
                    <a:pt x="327" y="30"/>
                  </a:lnTo>
                  <a:lnTo>
                    <a:pt x="330" y="39"/>
                  </a:lnTo>
                  <a:lnTo>
                    <a:pt x="348" y="37"/>
                  </a:lnTo>
                  <a:lnTo>
                    <a:pt x="358" y="46"/>
                  </a:lnTo>
                  <a:lnTo>
                    <a:pt x="379" y="46"/>
                  </a:lnTo>
                  <a:lnTo>
                    <a:pt x="400" y="49"/>
                  </a:lnTo>
                  <a:lnTo>
                    <a:pt x="409" y="46"/>
                  </a:lnTo>
                  <a:lnTo>
                    <a:pt x="409" y="37"/>
                  </a:lnTo>
                  <a:lnTo>
                    <a:pt x="412" y="37"/>
                  </a:lnTo>
                  <a:lnTo>
                    <a:pt x="421" y="25"/>
                  </a:lnTo>
                  <a:lnTo>
                    <a:pt x="442" y="30"/>
                  </a:lnTo>
                  <a:lnTo>
                    <a:pt x="448" y="28"/>
                  </a:lnTo>
                  <a:lnTo>
                    <a:pt x="481" y="16"/>
                  </a:lnTo>
                  <a:lnTo>
                    <a:pt x="481" y="9"/>
                  </a:lnTo>
                  <a:lnTo>
                    <a:pt x="494" y="19"/>
                  </a:lnTo>
                  <a:lnTo>
                    <a:pt x="515" y="16"/>
                  </a:lnTo>
                  <a:lnTo>
                    <a:pt x="520" y="0"/>
                  </a:lnTo>
                  <a:lnTo>
                    <a:pt x="523" y="0"/>
                  </a:lnTo>
                  <a:lnTo>
                    <a:pt x="542" y="6"/>
                  </a:lnTo>
                  <a:lnTo>
                    <a:pt x="551" y="6"/>
                  </a:lnTo>
                  <a:lnTo>
                    <a:pt x="563" y="16"/>
                  </a:lnTo>
                  <a:lnTo>
                    <a:pt x="572" y="9"/>
                  </a:lnTo>
                  <a:lnTo>
                    <a:pt x="575" y="16"/>
                  </a:lnTo>
                  <a:lnTo>
                    <a:pt x="584" y="6"/>
                  </a:lnTo>
                  <a:lnTo>
                    <a:pt x="603" y="16"/>
                  </a:lnTo>
                  <a:lnTo>
                    <a:pt x="612" y="25"/>
                  </a:lnTo>
                  <a:lnTo>
                    <a:pt x="615" y="30"/>
                  </a:lnTo>
                  <a:lnTo>
                    <a:pt x="636" y="46"/>
                  </a:lnTo>
                  <a:lnTo>
                    <a:pt x="655" y="30"/>
                  </a:lnTo>
                  <a:lnTo>
                    <a:pt x="672" y="39"/>
                  </a:lnTo>
                  <a:lnTo>
                    <a:pt x="681" y="28"/>
                  </a:lnTo>
                  <a:lnTo>
                    <a:pt x="684" y="28"/>
                  </a:lnTo>
                  <a:lnTo>
                    <a:pt x="693" y="30"/>
                  </a:lnTo>
                  <a:lnTo>
                    <a:pt x="693" y="39"/>
                  </a:lnTo>
                  <a:lnTo>
                    <a:pt x="705" y="49"/>
                  </a:lnTo>
                  <a:lnTo>
                    <a:pt x="711" y="58"/>
                  </a:lnTo>
                  <a:lnTo>
                    <a:pt x="724" y="58"/>
                  </a:lnTo>
                  <a:lnTo>
                    <a:pt x="724" y="71"/>
                  </a:lnTo>
                  <a:lnTo>
                    <a:pt x="732" y="67"/>
                  </a:lnTo>
                  <a:lnTo>
                    <a:pt x="735" y="78"/>
                  </a:lnTo>
                  <a:lnTo>
                    <a:pt x="735" y="78"/>
                  </a:lnTo>
                  <a:lnTo>
                    <a:pt x="735" y="81"/>
                  </a:lnTo>
                  <a:lnTo>
                    <a:pt x="732" y="93"/>
                  </a:lnTo>
                  <a:lnTo>
                    <a:pt x="735" y="102"/>
                  </a:lnTo>
                  <a:lnTo>
                    <a:pt x="726" y="118"/>
                  </a:lnTo>
                  <a:lnTo>
                    <a:pt x="735" y="120"/>
                  </a:lnTo>
                  <a:lnTo>
                    <a:pt x="742" y="120"/>
                  </a:lnTo>
                  <a:lnTo>
                    <a:pt x="754" y="130"/>
                  </a:lnTo>
                  <a:lnTo>
                    <a:pt x="721" y="171"/>
                  </a:lnTo>
                  <a:lnTo>
                    <a:pt x="711" y="171"/>
                  </a:lnTo>
                  <a:lnTo>
                    <a:pt x="705" y="180"/>
                  </a:lnTo>
                  <a:lnTo>
                    <a:pt x="697" y="183"/>
                  </a:lnTo>
                  <a:lnTo>
                    <a:pt x="697" y="196"/>
                  </a:lnTo>
                  <a:lnTo>
                    <a:pt x="690" y="215"/>
                  </a:lnTo>
                  <a:lnTo>
                    <a:pt x="684" y="255"/>
                  </a:lnTo>
                  <a:lnTo>
                    <a:pt x="684" y="273"/>
                  </a:lnTo>
                  <a:lnTo>
                    <a:pt x="672" y="284"/>
                  </a:lnTo>
                  <a:lnTo>
                    <a:pt x="666" y="296"/>
                  </a:lnTo>
                  <a:lnTo>
                    <a:pt x="666" y="308"/>
                  </a:lnTo>
                  <a:lnTo>
                    <a:pt x="655" y="314"/>
                  </a:lnTo>
                  <a:lnTo>
                    <a:pt x="660" y="326"/>
                  </a:lnTo>
                  <a:lnTo>
                    <a:pt x="662" y="330"/>
                  </a:lnTo>
                  <a:lnTo>
                    <a:pt x="662" y="330"/>
                  </a:lnTo>
                  <a:lnTo>
                    <a:pt x="672" y="339"/>
                  </a:lnTo>
                  <a:lnTo>
                    <a:pt x="672" y="376"/>
                  </a:lnTo>
                  <a:lnTo>
                    <a:pt x="676" y="383"/>
                  </a:lnTo>
                  <a:lnTo>
                    <a:pt x="676" y="398"/>
                  </a:lnTo>
                  <a:lnTo>
                    <a:pt x="676" y="420"/>
                  </a:lnTo>
                  <a:lnTo>
                    <a:pt x="684" y="451"/>
                  </a:lnTo>
                  <a:lnTo>
                    <a:pt x="681" y="460"/>
                  </a:lnTo>
                  <a:lnTo>
                    <a:pt x="684" y="474"/>
                  </a:lnTo>
                  <a:lnTo>
                    <a:pt x="690" y="485"/>
                  </a:lnTo>
                  <a:lnTo>
                    <a:pt x="702" y="495"/>
                  </a:lnTo>
                  <a:lnTo>
                    <a:pt x="714" y="508"/>
                  </a:lnTo>
                  <a:lnTo>
                    <a:pt x="732" y="548"/>
                  </a:lnTo>
                  <a:lnTo>
                    <a:pt x="660" y="563"/>
                  </a:lnTo>
                  <a:lnTo>
                    <a:pt x="660" y="570"/>
                  </a:lnTo>
                  <a:lnTo>
                    <a:pt x="655" y="576"/>
                  </a:lnTo>
                  <a:lnTo>
                    <a:pt x="636" y="594"/>
                  </a:lnTo>
                  <a:lnTo>
                    <a:pt x="641" y="598"/>
                  </a:lnTo>
                  <a:lnTo>
                    <a:pt x="651" y="617"/>
                  </a:lnTo>
                  <a:lnTo>
                    <a:pt x="645" y="633"/>
                  </a:lnTo>
                  <a:lnTo>
                    <a:pt x="651" y="651"/>
                  </a:lnTo>
                  <a:lnTo>
                    <a:pt x="645" y="661"/>
                  </a:lnTo>
                  <a:lnTo>
                    <a:pt x="636" y="688"/>
                  </a:lnTo>
                  <a:lnTo>
                    <a:pt x="641" y="701"/>
                  </a:lnTo>
                  <a:lnTo>
                    <a:pt x="655" y="710"/>
                  </a:lnTo>
                  <a:lnTo>
                    <a:pt x="662" y="723"/>
                  </a:lnTo>
                  <a:lnTo>
                    <a:pt x="672" y="723"/>
                  </a:lnTo>
                  <a:lnTo>
                    <a:pt x="681" y="723"/>
                  </a:lnTo>
                  <a:lnTo>
                    <a:pt x="681" y="714"/>
                  </a:lnTo>
                  <a:lnTo>
                    <a:pt x="693" y="714"/>
                  </a:lnTo>
                  <a:lnTo>
                    <a:pt x="693" y="767"/>
                  </a:lnTo>
                  <a:lnTo>
                    <a:pt x="684" y="763"/>
                  </a:lnTo>
                  <a:lnTo>
                    <a:pt x="690" y="756"/>
                  </a:lnTo>
                  <a:lnTo>
                    <a:pt x="684" y="756"/>
                  </a:lnTo>
                  <a:lnTo>
                    <a:pt x="666" y="763"/>
                  </a:lnTo>
                  <a:lnTo>
                    <a:pt x="662" y="763"/>
                  </a:lnTo>
                  <a:lnTo>
                    <a:pt x="651" y="744"/>
                  </a:lnTo>
                  <a:lnTo>
                    <a:pt x="645" y="742"/>
                  </a:lnTo>
                  <a:lnTo>
                    <a:pt x="641" y="726"/>
                  </a:lnTo>
                  <a:lnTo>
                    <a:pt x="615" y="719"/>
                  </a:lnTo>
                  <a:lnTo>
                    <a:pt x="605" y="719"/>
                  </a:lnTo>
                  <a:lnTo>
                    <a:pt x="603" y="704"/>
                  </a:lnTo>
                  <a:lnTo>
                    <a:pt x="593" y="695"/>
                  </a:lnTo>
                  <a:lnTo>
                    <a:pt x="591" y="688"/>
                  </a:lnTo>
                  <a:lnTo>
                    <a:pt x="584" y="691"/>
                  </a:lnTo>
                  <a:lnTo>
                    <a:pt x="582" y="701"/>
                  </a:lnTo>
                  <a:lnTo>
                    <a:pt x="575" y="704"/>
                  </a:lnTo>
                  <a:lnTo>
                    <a:pt x="542" y="701"/>
                  </a:lnTo>
                  <a:lnTo>
                    <a:pt x="520" y="691"/>
                  </a:lnTo>
                  <a:lnTo>
                    <a:pt x="515" y="679"/>
                  </a:lnTo>
                  <a:lnTo>
                    <a:pt x="515" y="672"/>
                  </a:lnTo>
                  <a:lnTo>
                    <a:pt x="494" y="679"/>
                  </a:lnTo>
                  <a:lnTo>
                    <a:pt x="481" y="682"/>
                  </a:lnTo>
                  <a:lnTo>
                    <a:pt x="478" y="679"/>
                  </a:lnTo>
                  <a:lnTo>
                    <a:pt x="481" y="670"/>
                  </a:lnTo>
                  <a:lnTo>
                    <a:pt x="464" y="661"/>
                  </a:lnTo>
                  <a:lnTo>
                    <a:pt x="460" y="664"/>
                  </a:lnTo>
                  <a:lnTo>
                    <a:pt x="442" y="664"/>
                  </a:lnTo>
                  <a:lnTo>
                    <a:pt x="431" y="670"/>
                  </a:lnTo>
                  <a:lnTo>
                    <a:pt x="409" y="664"/>
                  </a:lnTo>
                  <a:lnTo>
                    <a:pt x="394" y="672"/>
                  </a:lnTo>
                  <a:lnTo>
                    <a:pt x="394" y="661"/>
                  </a:lnTo>
                  <a:lnTo>
                    <a:pt x="400" y="657"/>
                  </a:lnTo>
                  <a:lnTo>
                    <a:pt x="400" y="638"/>
                  </a:lnTo>
                  <a:lnTo>
                    <a:pt x="391" y="620"/>
                  </a:lnTo>
                  <a:lnTo>
                    <a:pt x="381" y="610"/>
                  </a:lnTo>
                  <a:lnTo>
                    <a:pt x="379" y="598"/>
                  </a:lnTo>
                  <a:lnTo>
                    <a:pt x="381" y="563"/>
                  </a:lnTo>
                  <a:lnTo>
                    <a:pt x="379" y="539"/>
                  </a:lnTo>
                  <a:lnTo>
                    <a:pt x="381" y="523"/>
                  </a:lnTo>
                  <a:lnTo>
                    <a:pt x="379" y="513"/>
                  </a:lnTo>
                  <a:lnTo>
                    <a:pt x="330" y="513"/>
                  </a:lnTo>
                  <a:lnTo>
                    <a:pt x="334" y="501"/>
                  </a:lnTo>
                  <a:lnTo>
                    <a:pt x="321" y="501"/>
                  </a:lnTo>
                  <a:lnTo>
                    <a:pt x="321" y="501"/>
                  </a:lnTo>
                  <a:lnTo>
                    <a:pt x="292" y="501"/>
                  </a:lnTo>
                  <a:lnTo>
                    <a:pt x="292" y="523"/>
                  </a:lnTo>
                  <a:lnTo>
                    <a:pt x="282" y="526"/>
                  </a:lnTo>
                  <a:lnTo>
                    <a:pt x="282" y="539"/>
                  </a:lnTo>
                  <a:lnTo>
                    <a:pt x="249" y="539"/>
                  </a:lnTo>
                  <a:lnTo>
                    <a:pt x="249" y="539"/>
                  </a:lnTo>
                  <a:lnTo>
                    <a:pt x="233" y="545"/>
                  </a:lnTo>
                  <a:lnTo>
                    <a:pt x="233" y="545"/>
                  </a:lnTo>
                  <a:lnTo>
                    <a:pt x="228" y="545"/>
                  </a:lnTo>
                  <a:lnTo>
                    <a:pt x="212" y="545"/>
                  </a:lnTo>
                  <a:lnTo>
                    <a:pt x="188" y="508"/>
                  </a:lnTo>
                  <a:lnTo>
                    <a:pt x="188" y="501"/>
                  </a:lnTo>
                  <a:lnTo>
                    <a:pt x="179" y="476"/>
                  </a:lnTo>
                  <a:lnTo>
                    <a:pt x="179" y="470"/>
                  </a:lnTo>
                  <a:lnTo>
                    <a:pt x="172" y="460"/>
                  </a:lnTo>
                  <a:lnTo>
                    <a:pt x="152" y="455"/>
                  </a:lnTo>
                  <a:lnTo>
                    <a:pt x="152" y="455"/>
                  </a:lnTo>
                  <a:lnTo>
                    <a:pt x="152" y="455"/>
                  </a:lnTo>
                  <a:lnTo>
                    <a:pt x="152" y="455"/>
                  </a:lnTo>
                  <a:lnTo>
                    <a:pt x="152" y="455"/>
                  </a:lnTo>
                  <a:close/>
                  <a:moveTo>
                    <a:pt x="21" y="460"/>
                  </a:moveTo>
                  <a:lnTo>
                    <a:pt x="28" y="455"/>
                  </a:lnTo>
                  <a:lnTo>
                    <a:pt x="30" y="455"/>
                  </a:lnTo>
                  <a:lnTo>
                    <a:pt x="21" y="460"/>
                  </a:lnTo>
                  <a:lnTo>
                    <a:pt x="21" y="460"/>
                  </a:lnTo>
                  <a:lnTo>
                    <a:pt x="21" y="460"/>
                  </a:lnTo>
                  <a:lnTo>
                    <a:pt x="21" y="460"/>
                  </a:lnTo>
                  <a:lnTo>
                    <a:pt x="21" y="460"/>
                  </a:lnTo>
                  <a:close/>
                </a:path>
              </a:pathLst>
            </a:custGeom>
            <a:solidFill>
              <a:srgbClr val="FEC057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29" name="Freeform 15">
              <a:extLst>
                <a:ext uri="{FF2B5EF4-FFF2-40B4-BE49-F238E27FC236}">
                  <a16:creationId xmlns:a16="http://schemas.microsoft.com/office/drawing/2014/main" id="{2FAE2AD0-EA66-465C-ABAB-F300EA5210F3}"/>
                </a:ext>
              </a:extLst>
            </p:cNvPr>
            <p:cNvSpPr>
              <a:spLocks/>
            </p:cNvSpPr>
            <p:nvPr/>
          </p:nvSpPr>
          <p:spPr bwMode="gray">
            <a:xfrm>
              <a:off x="6508603" y="4750336"/>
              <a:ext cx="280448" cy="430886"/>
            </a:xfrm>
            <a:custGeom>
              <a:avLst/>
              <a:gdLst>
                <a:gd name="T0" fmla="*/ 12 w 302"/>
                <a:gd name="T1" fmla="*/ 319 h 464"/>
                <a:gd name="T2" fmla="*/ 14 w 302"/>
                <a:gd name="T3" fmla="*/ 291 h 464"/>
                <a:gd name="T4" fmla="*/ 45 w 302"/>
                <a:gd name="T5" fmla="*/ 266 h 464"/>
                <a:gd name="T6" fmla="*/ 54 w 302"/>
                <a:gd name="T7" fmla="*/ 257 h 464"/>
                <a:gd name="T8" fmla="*/ 69 w 302"/>
                <a:gd name="T9" fmla="*/ 250 h 464"/>
                <a:gd name="T10" fmla="*/ 81 w 302"/>
                <a:gd name="T11" fmla="*/ 244 h 464"/>
                <a:gd name="T12" fmla="*/ 102 w 302"/>
                <a:gd name="T13" fmla="*/ 269 h 464"/>
                <a:gd name="T14" fmla="*/ 121 w 302"/>
                <a:gd name="T15" fmla="*/ 259 h 464"/>
                <a:gd name="T16" fmla="*/ 132 w 302"/>
                <a:gd name="T17" fmla="*/ 244 h 464"/>
                <a:gd name="T18" fmla="*/ 130 w 302"/>
                <a:gd name="T19" fmla="*/ 235 h 464"/>
                <a:gd name="T20" fmla="*/ 136 w 302"/>
                <a:gd name="T21" fmla="*/ 216 h 464"/>
                <a:gd name="T22" fmla="*/ 145 w 302"/>
                <a:gd name="T23" fmla="*/ 188 h 464"/>
                <a:gd name="T24" fmla="*/ 154 w 302"/>
                <a:gd name="T25" fmla="*/ 182 h 464"/>
                <a:gd name="T26" fmla="*/ 166 w 302"/>
                <a:gd name="T27" fmla="*/ 177 h 464"/>
                <a:gd name="T28" fmla="*/ 184 w 302"/>
                <a:gd name="T29" fmla="*/ 142 h 464"/>
                <a:gd name="T30" fmla="*/ 194 w 302"/>
                <a:gd name="T31" fmla="*/ 120 h 464"/>
                <a:gd name="T32" fmla="*/ 205 w 302"/>
                <a:gd name="T33" fmla="*/ 83 h 464"/>
                <a:gd name="T34" fmla="*/ 224 w 302"/>
                <a:gd name="T35" fmla="*/ 73 h 464"/>
                <a:gd name="T36" fmla="*/ 242 w 302"/>
                <a:gd name="T37" fmla="*/ 53 h 464"/>
                <a:gd name="T38" fmla="*/ 236 w 302"/>
                <a:gd name="T39" fmla="*/ 30 h 464"/>
                <a:gd name="T40" fmla="*/ 222 w 302"/>
                <a:gd name="T41" fmla="*/ 0 h 464"/>
                <a:gd name="T42" fmla="*/ 236 w 302"/>
                <a:gd name="T43" fmla="*/ 11 h 464"/>
                <a:gd name="T44" fmla="*/ 252 w 302"/>
                <a:gd name="T45" fmla="*/ 39 h 464"/>
                <a:gd name="T46" fmla="*/ 257 w 302"/>
                <a:gd name="T47" fmla="*/ 64 h 464"/>
                <a:gd name="T48" fmla="*/ 257 w 302"/>
                <a:gd name="T49" fmla="*/ 92 h 464"/>
                <a:gd name="T50" fmla="*/ 285 w 302"/>
                <a:gd name="T51" fmla="*/ 126 h 464"/>
                <a:gd name="T52" fmla="*/ 224 w 302"/>
                <a:gd name="T53" fmla="*/ 126 h 464"/>
                <a:gd name="T54" fmla="*/ 227 w 302"/>
                <a:gd name="T55" fmla="*/ 157 h 464"/>
                <a:gd name="T56" fmla="*/ 275 w 302"/>
                <a:gd name="T57" fmla="*/ 213 h 464"/>
                <a:gd name="T58" fmla="*/ 275 w 302"/>
                <a:gd name="T59" fmla="*/ 225 h 464"/>
                <a:gd name="T60" fmla="*/ 252 w 302"/>
                <a:gd name="T61" fmla="*/ 275 h 464"/>
                <a:gd name="T62" fmla="*/ 236 w 302"/>
                <a:gd name="T63" fmla="*/ 291 h 464"/>
                <a:gd name="T64" fmla="*/ 242 w 302"/>
                <a:gd name="T65" fmla="*/ 305 h 464"/>
                <a:gd name="T66" fmla="*/ 242 w 302"/>
                <a:gd name="T67" fmla="*/ 319 h 464"/>
                <a:gd name="T68" fmla="*/ 257 w 302"/>
                <a:gd name="T69" fmla="*/ 352 h 464"/>
                <a:gd name="T70" fmla="*/ 257 w 302"/>
                <a:gd name="T71" fmla="*/ 367 h 464"/>
                <a:gd name="T72" fmla="*/ 297 w 302"/>
                <a:gd name="T73" fmla="*/ 411 h 464"/>
                <a:gd name="T74" fmla="*/ 302 w 302"/>
                <a:gd name="T75" fmla="*/ 436 h 464"/>
                <a:gd name="T76" fmla="*/ 302 w 302"/>
                <a:gd name="T77" fmla="*/ 461 h 464"/>
                <a:gd name="T78" fmla="*/ 285 w 302"/>
                <a:gd name="T79" fmla="*/ 452 h 464"/>
                <a:gd name="T80" fmla="*/ 236 w 302"/>
                <a:gd name="T81" fmla="*/ 443 h 464"/>
                <a:gd name="T82" fmla="*/ 184 w 302"/>
                <a:gd name="T83" fmla="*/ 436 h 464"/>
                <a:gd name="T84" fmla="*/ 151 w 302"/>
                <a:gd name="T85" fmla="*/ 436 h 464"/>
                <a:gd name="T86" fmla="*/ 112 w 302"/>
                <a:gd name="T87" fmla="*/ 443 h 464"/>
                <a:gd name="T88" fmla="*/ 50 w 302"/>
                <a:gd name="T89" fmla="*/ 433 h 464"/>
                <a:gd name="T90" fmla="*/ 54 w 302"/>
                <a:gd name="T91" fmla="*/ 399 h 464"/>
                <a:gd name="T92" fmla="*/ 50 w 302"/>
                <a:gd name="T93" fmla="*/ 383 h 464"/>
                <a:gd name="T94" fmla="*/ 43 w 302"/>
                <a:gd name="T95" fmla="*/ 374 h 464"/>
                <a:gd name="T96" fmla="*/ 39 w 302"/>
                <a:gd name="T97" fmla="*/ 362 h 464"/>
                <a:gd name="T98" fmla="*/ 39 w 302"/>
                <a:gd name="T99" fmla="*/ 371 h 464"/>
                <a:gd name="T100" fmla="*/ 14 w 302"/>
                <a:gd name="T101" fmla="*/ 342 h 464"/>
                <a:gd name="T102" fmla="*/ 14 w 302"/>
                <a:gd name="T103" fmla="*/ 342 h 464"/>
                <a:gd name="T104" fmla="*/ 8 w 302"/>
                <a:gd name="T105" fmla="*/ 349 h 464"/>
                <a:gd name="T106" fmla="*/ 3 w 302"/>
                <a:gd name="T107" fmla="*/ 337 h 464"/>
                <a:gd name="T108" fmla="*/ 3 w 302"/>
                <a:gd name="T109" fmla="*/ 337 h 464"/>
                <a:gd name="T110" fmla="*/ 3 w 302"/>
                <a:gd name="T111" fmla="*/ 337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02" h="464">
                  <a:moveTo>
                    <a:pt x="3" y="337"/>
                  </a:moveTo>
                  <a:lnTo>
                    <a:pt x="12" y="319"/>
                  </a:lnTo>
                  <a:lnTo>
                    <a:pt x="14" y="305"/>
                  </a:lnTo>
                  <a:lnTo>
                    <a:pt x="14" y="291"/>
                  </a:lnTo>
                  <a:lnTo>
                    <a:pt x="33" y="275"/>
                  </a:lnTo>
                  <a:lnTo>
                    <a:pt x="45" y="266"/>
                  </a:lnTo>
                  <a:lnTo>
                    <a:pt x="50" y="257"/>
                  </a:lnTo>
                  <a:lnTo>
                    <a:pt x="54" y="257"/>
                  </a:lnTo>
                  <a:lnTo>
                    <a:pt x="63" y="247"/>
                  </a:lnTo>
                  <a:lnTo>
                    <a:pt x="69" y="250"/>
                  </a:lnTo>
                  <a:lnTo>
                    <a:pt x="81" y="250"/>
                  </a:lnTo>
                  <a:lnTo>
                    <a:pt x="81" y="244"/>
                  </a:lnTo>
                  <a:lnTo>
                    <a:pt x="102" y="257"/>
                  </a:lnTo>
                  <a:lnTo>
                    <a:pt x="102" y="269"/>
                  </a:lnTo>
                  <a:lnTo>
                    <a:pt x="112" y="269"/>
                  </a:lnTo>
                  <a:lnTo>
                    <a:pt x="121" y="259"/>
                  </a:lnTo>
                  <a:lnTo>
                    <a:pt x="121" y="250"/>
                  </a:lnTo>
                  <a:lnTo>
                    <a:pt x="132" y="244"/>
                  </a:lnTo>
                  <a:lnTo>
                    <a:pt x="130" y="235"/>
                  </a:lnTo>
                  <a:lnTo>
                    <a:pt x="130" y="235"/>
                  </a:lnTo>
                  <a:lnTo>
                    <a:pt x="136" y="225"/>
                  </a:lnTo>
                  <a:lnTo>
                    <a:pt x="136" y="216"/>
                  </a:lnTo>
                  <a:lnTo>
                    <a:pt x="145" y="207"/>
                  </a:lnTo>
                  <a:lnTo>
                    <a:pt x="145" y="188"/>
                  </a:lnTo>
                  <a:lnTo>
                    <a:pt x="154" y="185"/>
                  </a:lnTo>
                  <a:lnTo>
                    <a:pt x="154" y="182"/>
                  </a:lnTo>
                  <a:lnTo>
                    <a:pt x="163" y="182"/>
                  </a:lnTo>
                  <a:lnTo>
                    <a:pt x="166" y="177"/>
                  </a:lnTo>
                  <a:lnTo>
                    <a:pt x="172" y="151"/>
                  </a:lnTo>
                  <a:lnTo>
                    <a:pt x="184" y="142"/>
                  </a:lnTo>
                  <a:lnTo>
                    <a:pt x="191" y="124"/>
                  </a:lnTo>
                  <a:lnTo>
                    <a:pt x="194" y="120"/>
                  </a:lnTo>
                  <a:lnTo>
                    <a:pt x="196" y="101"/>
                  </a:lnTo>
                  <a:lnTo>
                    <a:pt x="205" y="83"/>
                  </a:lnTo>
                  <a:lnTo>
                    <a:pt x="215" y="73"/>
                  </a:lnTo>
                  <a:lnTo>
                    <a:pt x="224" y="73"/>
                  </a:lnTo>
                  <a:lnTo>
                    <a:pt x="242" y="62"/>
                  </a:lnTo>
                  <a:lnTo>
                    <a:pt x="242" y="53"/>
                  </a:lnTo>
                  <a:lnTo>
                    <a:pt x="242" y="33"/>
                  </a:lnTo>
                  <a:lnTo>
                    <a:pt x="236" y="30"/>
                  </a:lnTo>
                  <a:lnTo>
                    <a:pt x="224" y="28"/>
                  </a:lnTo>
                  <a:lnTo>
                    <a:pt x="222" y="0"/>
                  </a:lnTo>
                  <a:lnTo>
                    <a:pt x="233" y="0"/>
                  </a:lnTo>
                  <a:lnTo>
                    <a:pt x="236" y="11"/>
                  </a:lnTo>
                  <a:lnTo>
                    <a:pt x="252" y="18"/>
                  </a:lnTo>
                  <a:lnTo>
                    <a:pt x="252" y="39"/>
                  </a:lnTo>
                  <a:lnTo>
                    <a:pt x="257" y="39"/>
                  </a:lnTo>
                  <a:lnTo>
                    <a:pt x="257" y="64"/>
                  </a:lnTo>
                  <a:lnTo>
                    <a:pt x="257" y="73"/>
                  </a:lnTo>
                  <a:lnTo>
                    <a:pt x="257" y="92"/>
                  </a:lnTo>
                  <a:lnTo>
                    <a:pt x="273" y="115"/>
                  </a:lnTo>
                  <a:lnTo>
                    <a:pt x="285" y="126"/>
                  </a:lnTo>
                  <a:lnTo>
                    <a:pt x="245" y="126"/>
                  </a:lnTo>
                  <a:lnTo>
                    <a:pt x="224" y="126"/>
                  </a:lnTo>
                  <a:lnTo>
                    <a:pt x="215" y="142"/>
                  </a:lnTo>
                  <a:lnTo>
                    <a:pt x="227" y="157"/>
                  </a:lnTo>
                  <a:lnTo>
                    <a:pt x="264" y="185"/>
                  </a:lnTo>
                  <a:lnTo>
                    <a:pt x="275" y="213"/>
                  </a:lnTo>
                  <a:lnTo>
                    <a:pt x="281" y="216"/>
                  </a:lnTo>
                  <a:lnTo>
                    <a:pt x="275" y="225"/>
                  </a:lnTo>
                  <a:lnTo>
                    <a:pt x="264" y="239"/>
                  </a:lnTo>
                  <a:lnTo>
                    <a:pt x="252" y="275"/>
                  </a:lnTo>
                  <a:lnTo>
                    <a:pt x="233" y="287"/>
                  </a:lnTo>
                  <a:lnTo>
                    <a:pt x="236" y="291"/>
                  </a:lnTo>
                  <a:lnTo>
                    <a:pt x="242" y="291"/>
                  </a:lnTo>
                  <a:lnTo>
                    <a:pt x="242" y="305"/>
                  </a:lnTo>
                  <a:lnTo>
                    <a:pt x="236" y="312"/>
                  </a:lnTo>
                  <a:lnTo>
                    <a:pt x="242" y="319"/>
                  </a:lnTo>
                  <a:lnTo>
                    <a:pt x="245" y="342"/>
                  </a:lnTo>
                  <a:lnTo>
                    <a:pt x="257" y="352"/>
                  </a:lnTo>
                  <a:lnTo>
                    <a:pt x="264" y="367"/>
                  </a:lnTo>
                  <a:lnTo>
                    <a:pt x="257" y="367"/>
                  </a:lnTo>
                  <a:lnTo>
                    <a:pt x="266" y="381"/>
                  </a:lnTo>
                  <a:lnTo>
                    <a:pt x="297" y="411"/>
                  </a:lnTo>
                  <a:lnTo>
                    <a:pt x="297" y="429"/>
                  </a:lnTo>
                  <a:lnTo>
                    <a:pt x="302" y="436"/>
                  </a:lnTo>
                  <a:lnTo>
                    <a:pt x="297" y="443"/>
                  </a:lnTo>
                  <a:lnTo>
                    <a:pt x="302" y="461"/>
                  </a:lnTo>
                  <a:lnTo>
                    <a:pt x="297" y="464"/>
                  </a:lnTo>
                  <a:lnTo>
                    <a:pt x="285" y="452"/>
                  </a:lnTo>
                  <a:lnTo>
                    <a:pt x="252" y="445"/>
                  </a:lnTo>
                  <a:lnTo>
                    <a:pt x="236" y="443"/>
                  </a:lnTo>
                  <a:lnTo>
                    <a:pt x="191" y="443"/>
                  </a:lnTo>
                  <a:lnTo>
                    <a:pt x="184" y="436"/>
                  </a:lnTo>
                  <a:lnTo>
                    <a:pt x="166" y="436"/>
                  </a:lnTo>
                  <a:lnTo>
                    <a:pt x="151" y="436"/>
                  </a:lnTo>
                  <a:lnTo>
                    <a:pt x="112" y="436"/>
                  </a:lnTo>
                  <a:lnTo>
                    <a:pt x="112" y="443"/>
                  </a:lnTo>
                  <a:lnTo>
                    <a:pt x="59" y="443"/>
                  </a:lnTo>
                  <a:lnTo>
                    <a:pt x="50" y="433"/>
                  </a:lnTo>
                  <a:lnTo>
                    <a:pt x="59" y="404"/>
                  </a:lnTo>
                  <a:lnTo>
                    <a:pt x="54" y="399"/>
                  </a:lnTo>
                  <a:lnTo>
                    <a:pt x="45" y="383"/>
                  </a:lnTo>
                  <a:lnTo>
                    <a:pt x="50" y="383"/>
                  </a:lnTo>
                  <a:lnTo>
                    <a:pt x="45" y="383"/>
                  </a:lnTo>
                  <a:lnTo>
                    <a:pt x="43" y="374"/>
                  </a:lnTo>
                  <a:lnTo>
                    <a:pt x="45" y="371"/>
                  </a:lnTo>
                  <a:lnTo>
                    <a:pt x="39" y="362"/>
                  </a:lnTo>
                  <a:lnTo>
                    <a:pt x="43" y="367"/>
                  </a:lnTo>
                  <a:lnTo>
                    <a:pt x="39" y="371"/>
                  </a:lnTo>
                  <a:lnTo>
                    <a:pt x="21" y="362"/>
                  </a:lnTo>
                  <a:lnTo>
                    <a:pt x="14" y="342"/>
                  </a:lnTo>
                  <a:lnTo>
                    <a:pt x="12" y="340"/>
                  </a:lnTo>
                  <a:lnTo>
                    <a:pt x="14" y="342"/>
                  </a:lnTo>
                  <a:lnTo>
                    <a:pt x="8" y="340"/>
                  </a:lnTo>
                  <a:lnTo>
                    <a:pt x="8" y="349"/>
                  </a:lnTo>
                  <a:lnTo>
                    <a:pt x="0" y="342"/>
                  </a:lnTo>
                  <a:lnTo>
                    <a:pt x="3" y="337"/>
                  </a:lnTo>
                  <a:lnTo>
                    <a:pt x="3" y="337"/>
                  </a:lnTo>
                  <a:lnTo>
                    <a:pt x="3" y="337"/>
                  </a:lnTo>
                  <a:lnTo>
                    <a:pt x="3" y="337"/>
                  </a:lnTo>
                  <a:lnTo>
                    <a:pt x="3" y="33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0" name="Freeform 16">
              <a:extLst>
                <a:ext uri="{FF2B5EF4-FFF2-40B4-BE49-F238E27FC236}">
                  <a16:creationId xmlns:a16="http://schemas.microsoft.com/office/drawing/2014/main" id="{71CB145B-A72E-449C-9157-DBA74A976EF5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6831" y="4827413"/>
              <a:ext cx="474532" cy="326879"/>
            </a:xfrm>
            <a:custGeom>
              <a:avLst/>
              <a:gdLst>
                <a:gd name="T0" fmla="*/ 232 w 511"/>
                <a:gd name="T1" fmla="*/ 253 h 352"/>
                <a:gd name="T2" fmla="*/ 192 w 511"/>
                <a:gd name="T3" fmla="*/ 238 h 352"/>
                <a:gd name="T4" fmla="*/ 168 w 511"/>
                <a:gd name="T5" fmla="*/ 269 h 352"/>
                <a:gd name="T6" fmla="*/ 168 w 511"/>
                <a:gd name="T7" fmla="*/ 285 h 352"/>
                <a:gd name="T8" fmla="*/ 159 w 511"/>
                <a:gd name="T9" fmla="*/ 296 h 352"/>
                <a:gd name="T10" fmla="*/ 145 w 511"/>
                <a:gd name="T11" fmla="*/ 299 h 352"/>
                <a:gd name="T12" fmla="*/ 131 w 511"/>
                <a:gd name="T13" fmla="*/ 299 h 352"/>
                <a:gd name="T14" fmla="*/ 114 w 511"/>
                <a:gd name="T15" fmla="*/ 299 h 352"/>
                <a:gd name="T16" fmla="*/ 80 w 511"/>
                <a:gd name="T17" fmla="*/ 319 h 352"/>
                <a:gd name="T18" fmla="*/ 68 w 511"/>
                <a:gd name="T19" fmla="*/ 352 h 352"/>
                <a:gd name="T20" fmla="*/ 63 w 511"/>
                <a:gd name="T21" fmla="*/ 328 h 352"/>
                <a:gd name="T22" fmla="*/ 23 w 511"/>
                <a:gd name="T23" fmla="*/ 285 h 352"/>
                <a:gd name="T24" fmla="*/ 23 w 511"/>
                <a:gd name="T25" fmla="*/ 269 h 352"/>
                <a:gd name="T26" fmla="*/ 9 w 511"/>
                <a:gd name="T27" fmla="*/ 235 h 352"/>
                <a:gd name="T28" fmla="*/ 9 w 511"/>
                <a:gd name="T29" fmla="*/ 223 h 352"/>
                <a:gd name="T30" fmla="*/ 2 w 511"/>
                <a:gd name="T31" fmla="*/ 207 h 352"/>
                <a:gd name="T32" fmla="*/ 17 w 511"/>
                <a:gd name="T33" fmla="*/ 191 h 352"/>
                <a:gd name="T34" fmla="*/ 41 w 511"/>
                <a:gd name="T35" fmla="*/ 142 h 352"/>
                <a:gd name="T36" fmla="*/ 77 w 511"/>
                <a:gd name="T37" fmla="*/ 136 h 352"/>
                <a:gd name="T38" fmla="*/ 84 w 511"/>
                <a:gd name="T39" fmla="*/ 133 h 352"/>
                <a:gd name="T40" fmla="*/ 122 w 511"/>
                <a:gd name="T41" fmla="*/ 124 h 352"/>
                <a:gd name="T42" fmla="*/ 183 w 511"/>
                <a:gd name="T43" fmla="*/ 99 h 352"/>
                <a:gd name="T44" fmla="*/ 180 w 511"/>
                <a:gd name="T45" fmla="*/ 83 h 352"/>
                <a:gd name="T46" fmla="*/ 220 w 511"/>
                <a:gd name="T47" fmla="*/ 74 h 352"/>
                <a:gd name="T48" fmla="*/ 237 w 511"/>
                <a:gd name="T49" fmla="*/ 71 h 352"/>
                <a:gd name="T50" fmla="*/ 267 w 511"/>
                <a:gd name="T51" fmla="*/ 44 h 352"/>
                <a:gd name="T52" fmla="*/ 279 w 511"/>
                <a:gd name="T53" fmla="*/ 37 h 352"/>
                <a:gd name="T54" fmla="*/ 283 w 511"/>
                <a:gd name="T55" fmla="*/ 19 h 352"/>
                <a:gd name="T56" fmla="*/ 331 w 511"/>
                <a:gd name="T57" fmla="*/ 7 h 352"/>
                <a:gd name="T58" fmla="*/ 361 w 511"/>
                <a:gd name="T59" fmla="*/ 50 h 352"/>
                <a:gd name="T60" fmla="*/ 358 w 511"/>
                <a:gd name="T61" fmla="*/ 74 h 352"/>
                <a:gd name="T62" fmla="*/ 358 w 511"/>
                <a:gd name="T63" fmla="*/ 83 h 352"/>
                <a:gd name="T64" fmla="*/ 382 w 511"/>
                <a:gd name="T65" fmla="*/ 94 h 352"/>
                <a:gd name="T66" fmla="*/ 382 w 511"/>
                <a:gd name="T67" fmla="*/ 103 h 352"/>
                <a:gd name="T68" fmla="*/ 403 w 511"/>
                <a:gd name="T69" fmla="*/ 115 h 352"/>
                <a:gd name="T70" fmla="*/ 424 w 511"/>
                <a:gd name="T71" fmla="*/ 131 h 352"/>
                <a:gd name="T72" fmla="*/ 422 w 511"/>
                <a:gd name="T73" fmla="*/ 142 h 352"/>
                <a:gd name="T74" fmla="*/ 452 w 511"/>
                <a:gd name="T75" fmla="*/ 164 h 352"/>
                <a:gd name="T76" fmla="*/ 469 w 511"/>
                <a:gd name="T77" fmla="*/ 176 h 352"/>
                <a:gd name="T78" fmla="*/ 473 w 511"/>
                <a:gd name="T79" fmla="*/ 195 h 352"/>
                <a:gd name="T80" fmla="*/ 485 w 511"/>
                <a:gd name="T81" fmla="*/ 204 h 352"/>
                <a:gd name="T82" fmla="*/ 503 w 511"/>
                <a:gd name="T83" fmla="*/ 223 h 352"/>
                <a:gd name="T84" fmla="*/ 511 w 511"/>
                <a:gd name="T85" fmla="*/ 244 h 352"/>
                <a:gd name="T86" fmla="*/ 485 w 511"/>
                <a:gd name="T87" fmla="*/ 244 h 352"/>
                <a:gd name="T88" fmla="*/ 473 w 511"/>
                <a:gd name="T89" fmla="*/ 244 h 352"/>
                <a:gd name="T90" fmla="*/ 452 w 511"/>
                <a:gd name="T91" fmla="*/ 235 h 352"/>
                <a:gd name="T92" fmla="*/ 431 w 511"/>
                <a:gd name="T93" fmla="*/ 230 h 352"/>
                <a:gd name="T94" fmla="*/ 403 w 511"/>
                <a:gd name="T95" fmla="*/ 248 h 352"/>
                <a:gd name="T96" fmla="*/ 391 w 511"/>
                <a:gd name="T97" fmla="*/ 244 h 352"/>
                <a:gd name="T98" fmla="*/ 352 w 511"/>
                <a:gd name="T99" fmla="*/ 260 h 352"/>
                <a:gd name="T100" fmla="*/ 321 w 511"/>
                <a:gd name="T101" fmla="*/ 266 h 352"/>
                <a:gd name="T102" fmla="*/ 319 w 511"/>
                <a:gd name="T103" fmla="*/ 276 h 352"/>
                <a:gd name="T104" fmla="*/ 288 w 511"/>
                <a:gd name="T105" fmla="*/ 276 h 352"/>
                <a:gd name="T106" fmla="*/ 258 w 511"/>
                <a:gd name="T107" fmla="*/ 266 h 352"/>
                <a:gd name="T108" fmla="*/ 237 w 511"/>
                <a:gd name="T109" fmla="*/ 260 h 352"/>
                <a:gd name="T110" fmla="*/ 237 w 511"/>
                <a:gd name="T111" fmla="*/ 260 h 352"/>
                <a:gd name="T112" fmla="*/ 237 w 511"/>
                <a:gd name="T113" fmla="*/ 26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11" h="352">
                  <a:moveTo>
                    <a:pt x="237" y="260"/>
                  </a:moveTo>
                  <a:lnTo>
                    <a:pt x="232" y="253"/>
                  </a:lnTo>
                  <a:lnTo>
                    <a:pt x="211" y="238"/>
                  </a:lnTo>
                  <a:lnTo>
                    <a:pt x="192" y="238"/>
                  </a:lnTo>
                  <a:lnTo>
                    <a:pt x="180" y="248"/>
                  </a:lnTo>
                  <a:lnTo>
                    <a:pt x="168" y="269"/>
                  </a:lnTo>
                  <a:lnTo>
                    <a:pt x="161" y="269"/>
                  </a:lnTo>
                  <a:lnTo>
                    <a:pt x="168" y="285"/>
                  </a:lnTo>
                  <a:lnTo>
                    <a:pt x="161" y="306"/>
                  </a:lnTo>
                  <a:lnTo>
                    <a:pt x="159" y="296"/>
                  </a:lnTo>
                  <a:lnTo>
                    <a:pt x="145" y="306"/>
                  </a:lnTo>
                  <a:lnTo>
                    <a:pt x="145" y="299"/>
                  </a:lnTo>
                  <a:lnTo>
                    <a:pt x="131" y="299"/>
                  </a:lnTo>
                  <a:lnTo>
                    <a:pt x="131" y="299"/>
                  </a:lnTo>
                  <a:lnTo>
                    <a:pt x="120" y="296"/>
                  </a:lnTo>
                  <a:lnTo>
                    <a:pt x="114" y="299"/>
                  </a:lnTo>
                  <a:lnTo>
                    <a:pt x="84" y="299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68" y="352"/>
                  </a:lnTo>
                  <a:lnTo>
                    <a:pt x="63" y="347"/>
                  </a:lnTo>
                  <a:lnTo>
                    <a:pt x="63" y="328"/>
                  </a:lnTo>
                  <a:lnTo>
                    <a:pt x="33" y="296"/>
                  </a:lnTo>
                  <a:lnTo>
                    <a:pt x="23" y="285"/>
                  </a:lnTo>
                  <a:lnTo>
                    <a:pt x="30" y="285"/>
                  </a:lnTo>
                  <a:lnTo>
                    <a:pt x="23" y="269"/>
                  </a:lnTo>
                  <a:lnTo>
                    <a:pt x="11" y="260"/>
                  </a:lnTo>
                  <a:lnTo>
                    <a:pt x="9" y="235"/>
                  </a:lnTo>
                  <a:lnTo>
                    <a:pt x="2" y="230"/>
                  </a:lnTo>
                  <a:lnTo>
                    <a:pt x="9" y="223"/>
                  </a:lnTo>
                  <a:lnTo>
                    <a:pt x="9" y="207"/>
                  </a:lnTo>
                  <a:lnTo>
                    <a:pt x="2" y="207"/>
                  </a:lnTo>
                  <a:lnTo>
                    <a:pt x="0" y="204"/>
                  </a:lnTo>
                  <a:lnTo>
                    <a:pt x="17" y="191"/>
                  </a:lnTo>
                  <a:lnTo>
                    <a:pt x="30" y="154"/>
                  </a:lnTo>
                  <a:lnTo>
                    <a:pt x="41" y="142"/>
                  </a:lnTo>
                  <a:lnTo>
                    <a:pt x="59" y="142"/>
                  </a:lnTo>
                  <a:lnTo>
                    <a:pt x="77" y="136"/>
                  </a:lnTo>
                  <a:lnTo>
                    <a:pt x="84" y="131"/>
                  </a:lnTo>
                  <a:lnTo>
                    <a:pt x="84" y="133"/>
                  </a:lnTo>
                  <a:lnTo>
                    <a:pt x="93" y="142"/>
                  </a:lnTo>
                  <a:lnTo>
                    <a:pt x="122" y="124"/>
                  </a:lnTo>
                  <a:lnTo>
                    <a:pt x="161" y="121"/>
                  </a:lnTo>
                  <a:lnTo>
                    <a:pt x="183" y="99"/>
                  </a:lnTo>
                  <a:lnTo>
                    <a:pt x="174" y="89"/>
                  </a:lnTo>
                  <a:lnTo>
                    <a:pt x="180" y="83"/>
                  </a:lnTo>
                  <a:lnTo>
                    <a:pt x="213" y="81"/>
                  </a:lnTo>
                  <a:lnTo>
                    <a:pt x="220" y="74"/>
                  </a:lnTo>
                  <a:lnTo>
                    <a:pt x="232" y="81"/>
                  </a:lnTo>
                  <a:lnTo>
                    <a:pt x="237" y="71"/>
                  </a:lnTo>
                  <a:lnTo>
                    <a:pt x="250" y="69"/>
                  </a:lnTo>
                  <a:lnTo>
                    <a:pt x="267" y="44"/>
                  </a:lnTo>
                  <a:lnTo>
                    <a:pt x="271" y="44"/>
                  </a:lnTo>
                  <a:lnTo>
                    <a:pt x="279" y="37"/>
                  </a:lnTo>
                  <a:lnTo>
                    <a:pt x="283" y="32"/>
                  </a:lnTo>
                  <a:lnTo>
                    <a:pt x="283" y="19"/>
                  </a:lnTo>
                  <a:lnTo>
                    <a:pt x="313" y="0"/>
                  </a:lnTo>
                  <a:lnTo>
                    <a:pt x="331" y="7"/>
                  </a:lnTo>
                  <a:lnTo>
                    <a:pt x="349" y="22"/>
                  </a:lnTo>
                  <a:lnTo>
                    <a:pt x="361" y="50"/>
                  </a:lnTo>
                  <a:lnTo>
                    <a:pt x="361" y="71"/>
                  </a:lnTo>
                  <a:lnTo>
                    <a:pt x="358" y="74"/>
                  </a:lnTo>
                  <a:lnTo>
                    <a:pt x="352" y="81"/>
                  </a:lnTo>
                  <a:lnTo>
                    <a:pt x="358" y="83"/>
                  </a:lnTo>
                  <a:lnTo>
                    <a:pt x="358" y="94"/>
                  </a:lnTo>
                  <a:lnTo>
                    <a:pt x="382" y="94"/>
                  </a:lnTo>
                  <a:lnTo>
                    <a:pt x="389" y="99"/>
                  </a:lnTo>
                  <a:lnTo>
                    <a:pt x="382" y="103"/>
                  </a:lnTo>
                  <a:lnTo>
                    <a:pt x="382" y="112"/>
                  </a:lnTo>
                  <a:lnTo>
                    <a:pt x="403" y="115"/>
                  </a:lnTo>
                  <a:lnTo>
                    <a:pt x="419" y="131"/>
                  </a:lnTo>
                  <a:lnTo>
                    <a:pt x="424" y="131"/>
                  </a:lnTo>
                  <a:lnTo>
                    <a:pt x="424" y="136"/>
                  </a:lnTo>
                  <a:lnTo>
                    <a:pt x="422" y="142"/>
                  </a:lnTo>
                  <a:lnTo>
                    <a:pt x="422" y="142"/>
                  </a:lnTo>
                  <a:lnTo>
                    <a:pt x="452" y="164"/>
                  </a:lnTo>
                  <a:lnTo>
                    <a:pt x="455" y="168"/>
                  </a:lnTo>
                  <a:lnTo>
                    <a:pt x="469" y="176"/>
                  </a:lnTo>
                  <a:lnTo>
                    <a:pt x="463" y="186"/>
                  </a:lnTo>
                  <a:lnTo>
                    <a:pt x="473" y="195"/>
                  </a:lnTo>
                  <a:lnTo>
                    <a:pt x="469" y="198"/>
                  </a:lnTo>
                  <a:lnTo>
                    <a:pt x="485" y="204"/>
                  </a:lnTo>
                  <a:lnTo>
                    <a:pt x="499" y="214"/>
                  </a:lnTo>
                  <a:lnTo>
                    <a:pt x="503" y="223"/>
                  </a:lnTo>
                  <a:lnTo>
                    <a:pt x="503" y="230"/>
                  </a:lnTo>
                  <a:lnTo>
                    <a:pt x="511" y="244"/>
                  </a:lnTo>
                  <a:lnTo>
                    <a:pt x="494" y="235"/>
                  </a:lnTo>
                  <a:lnTo>
                    <a:pt x="485" y="244"/>
                  </a:lnTo>
                  <a:lnTo>
                    <a:pt x="482" y="238"/>
                  </a:lnTo>
                  <a:lnTo>
                    <a:pt x="473" y="244"/>
                  </a:lnTo>
                  <a:lnTo>
                    <a:pt x="461" y="235"/>
                  </a:lnTo>
                  <a:lnTo>
                    <a:pt x="452" y="235"/>
                  </a:lnTo>
                  <a:lnTo>
                    <a:pt x="433" y="230"/>
                  </a:lnTo>
                  <a:lnTo>
                    <a:pt x="431" y="230"/>
                  </a:lnTo>
                  <a:lnTo>
                    <a:pt x="424" y="244"/>
                  </a:lnTo>
                  <a:lnTo>
                    <a:pt x="403" y="248"/>
                  </a:lnTo>
                  <a:lnTo>
                    <a:pt x="391" y="238"/>
                  </a:lnTo>
                  <a:lnTo>
                    <a:pt x="391" y="244"/>
                  </a:lnTo>
                  <a:lnTo>
                    <a:pt x="358" y="257"/>
                  </a:lnTo>
                  <a:lnTo>
                    <a:pt x="352" y="260"/>
                  </a:lnTo>
                  <a:lnTo>
                    <a:pt x="331" y="253"/>
                  </a:lnTo>
                  <a:lnTo>
                    <a:pt x="321" y="266"/>
                  </a:lnTo>
                  <a:lnTo>
                    <a:pt x="319" y="266"/>
                  </a:lnTo>
                  <a:lnTo>
                    <a:pt x="319" y="276"/>
                  </a:lnTo>
                  <a:lnTo>
                    <a:pt x="309" y="278"/>
                  </a:lnTo>
                  <a:lnTo>
                    <a:pt x="288" y="276"/>
                  </a:lnTo>
                  <a:lnTo>
                    <a:pt x="267" y="276"/>
                  </a:lnTo>
                  <a:lnTo>
                    <a:pt x="258" y="266"/>
                  </a:lnTo>
                  <a:lnTo>
                    <a:pt x="241" y="269"/>
                  </a:lnTo>
                  <a:lnTo>
                    <a:pt x="237" y="260"/>
                  </a:lnTo>
                  <a:lnTo>
                    <a:pt x="237" y="260"/>
                  </a:lnTo>
                  <a:lnTo>
                    <a:pt x="237" y="260"/>
                  </a:lnTo>
                  <a:lnTo>
                    <a:pt x="237" y="260"/>
                  </a:lnTo>
                  <a:lnTo>
                    <a:pt x="237" y="26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1" name="Freeform 17">
              <a:extLst>
                <a:ext uri="{FF2B5EF4-FFF2-40B4-BE49-F238E27FC236}">
                  <a16:creationId xmlns:a16="http://schemas.microsoft.com/office/drawing/2014/main" id="{36E727B2-05E4-4375-9F6D-83DBBD3E2672}"/>
                </a:ext>
              </a:extLst>
            </p:cNvPr>
            <p:cNvSpPr>
              <a:spLocks/>
            </p:cNvSpPr>
            <p:nvPr/>
          </p:nvSpPr>
          <p:spPr bwMode="gray">
            <a:xfrm>
              <a:off x="7724185" y="4759622"/>
              <a:ext cx="58504" cy="72433"/>
            </a:xfrm>
            <a:custGeom>
              <a:avLst/>
              <a:gdLst>
                <a:gd name="T0" fmla="*/ 42 w 63"/>
                <a:gd name="T1" fmla="*/ 72 h 78"/>
                <a:gd name="T2" fmla="*/ 32 w 63"/>
                <a:gd name="T3" fmla="*/ 69 h 78"/>
                <a:gd name="T4" fmla="*/ 8 w 63"/>
                <a:gd name="T5" fmla="*/ 78 h 78"/>
                <a:gd name="T6" fmla="*/ 0 w 63"/>
                <a:gd name="T7" fmla="*/ 72 h 78"/>
                <a:gd name="T8" fmla="*/ 0 w 63"/>
                <a:gd name="T9" fmla="*/ 53 h 78"/>
                <a:gd name="T10" fmla="*/ 0 w 63"/>
                <a:gd name="T11" fmla="*/ 41 h 78"/>
                <a:gd name="T12" fmla="*/ 20 w 63"/>
                <a:gd name="T13" fmla="*/ 15 h 78"/>
                <a:gd name="T14" fmla="*/ 24 w 63"/>
                <a:gd name="T15" fmla="*/ 10 h 78"/>
                <a:gd name="T16" fmla="*/ 32 w 63"/>
                <a:gd name="T17" fmla="*/ 19 h 78"/>
                <a:gd name="T18" fmla="*/ 39 w 63"/>
                <a:gd name="T19" fmla="*/ 15 h 78"/>
                <a:gd name="T20" fmla="*/ 39 w 63"/>
                <a:gd name="T21" fmla="*/ 10 h 78"/>
                <a:gd name="T22" fmla="*/ 51 w 63"/>
                <a:gd name="T23" fmla="*/ 0 h 78"/>
                <a:gd name="T24" fmla="*/ 60 w 63"/>
                <a:gd name="T25" fmla="*/ 15 h 78"/>
                <a:gd name="T26" fmla="*/ 63 w 63"/>
                <a:gd name="T27" fmla="*/ 32 h 78"/>
                <a:gd name="T28" fmla="*/ 44 w 63"/>
                <a:gd name="T29" fmla="*/ 41 h 78"/>
                <a:gd name="T30" fmla="*/ 39 w 63"/>
                <a:gd name="T31" fmla="*/ 41 h 78"/>
                <a:gd name="T32" fmla="*/ 32 w 63"/>
                <a:gd name="T33" fmla="*/ 50 h 78"/>
                <a:gd name="T34" fmla="*/ 24 w 63"/>
                <a:gd name="T35" fmla="*/ 50 h 78"/>
                <a:gd name="T36" fmla="*/ 30 w 63"/>
                <a:gd name="T37" fmla="*/ 53 h 78"/>
                <a:gd name="T38" fmla="*/ 42 w 63"/>
                <a:gd name="T39" fmla="*/ 50 h 78"/>
                <a:gd name="T40" fmla="*/ 51 w 63"/>
                <a:gd name="T41" fmla="*/ 50 h 78"/>
                <a:gd name="T42" fmla="*/ 53 w 63"/>
                <a:gd name="T43" fmla="*/ 53 h 78"/>
                <a:gd name="T44" fmla="*/ 42 w 63"/>
                <a:gd name="T45" fmla="*/ 72 h 78"/>
                <a:gd name="T46" fmla="*/ 42 w 63"/>
                <a:gd name="T47" fmla="*/ 72 h 78"/>
                <a:gd name="T48" fmla="*/ 42 w 63"/>
                <a:gd name="T49" fmla="*/ 72 h 78"/>
                <a:gd name="T50" fmla="*/ 42 w 63"/>
                <a:gd name="T51" fmla="*/ 72 h 78"/>
                <a:gd name="T52" fmla="*/ 42 w 63"/>
                <a:gd name="T53" fmla="*/ 72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3" h="78">
                  <a:moveTo>
                    <a:pt x="42" y="72"/>
                  </a:moveTo>
                  <a:lnTo>
                    <a:pt x="32" y="69"/>
                  </a:lnTo>
                  <a:lnTo>
                    <a:pt x="8" y="78"/>
                  </a:lnTo>
                  <a:lnTo>
                    <a:pt x="0" y="72"/>
                  </a:lnTo>
                  <a:lnTo>
                    <a:pt x="0" y="53"/>
                  </a:lnTo>
                  <a:lnTo>
                    <a:pt x="0" y="41"/>
                  </a:lnTo>
                  <a:lnTo>
                    <a:pt x="20" y="15"/>
                  </a:lnTo>
                  <a:lnTo>
                    <a:pt x="24" y="10"/>
                  </a:lnTo>
                  <a:lnTo>
                    <a:pt x="32" y="19"/>
                  </a:lnTo>
                  <a:lnTo>
                    <a:pt x="39" y="15"/>
                  </a:lnTo>
                  <a:lnTo>
                    <a:pt x="39" y="10"/>
                  </a:lnTo>
                  <a:lnTo>
                    <a:pt x="51" y="0"/>
                  </a:lnTo>
                  <a:lnTo>
                    <a:pt x="60" y="15"/>
                  </a:lnTo>
                  <a:lnTo>
                    <a:pt x="63" y="32"/>
                  </a:lnTo>
                  <a:lnTo>
                    <a:pt x="44" y="41"/>
                  </a:lnTo>
                  <a:lnTo>
                    <a:pt x="39" y="41"/>
                  </a:lnTo>
                  <a:lnTo>
                    <a:pt x="32" y="50"/>
                  </a:lnTo>
                  <a:lnTo>
                    <a:pt x="24" y="50"/>
                  </a:lnTo>
                  <a:lnTo>
                    <a:pt x="30" y="53"/>
                  </a:lnTo>
                  <a:lnTo>
                    <a:pt x="42" y="50"/>
                  </a:lnTo>
                  <a:lnTo>
                    <a:pt x="51" y="50"/>
                  </a:lnTo>
                  <a:lnTo>
                    <a:pt x="53" y="53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2" y="72"/>
                  </a:lnTo>
                  <a:lnTo>
                    <a:pt x="42" y="72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2" name="Freeform 18">
              <a:extLst>
                <a:ext uri="{FF2B5EF4-FFF2-40B4-BE49-F238E27FC236}">
                  <a16:creationId xmlns:a16="http://schemas.microsoft.com/office/drawing/2014/main" id="{1E697C46-56C2-4D25-ADA6-8D4A99FC2266}"/>
                </a:ext>
              </a:extLst>
            </p:cNvPr>
            <p:cNvSpPr>
              <a:spLocks/>
            </p:cNvSpPr>
            <p:nvPr/>
          </p:nvSpPr>
          <p:spPr bwMode="gray">
            <a:xfrm>
              <a:off x="7102000" y="4015787"/>
              <a:ext cx="441101" cy="388169"/>
            </a:xfrm>
            <a:custGeom>
              <a:avLst/>
              <a:gdLst>
                <a:gd name="T0" fmla="*/ 263 w 475"/>
                <a:gd name="T1" fmla="*/ 418 h 418"/>
                <a:gd name="T2" fmla="*/ 263 w 475"/>
                <a:gd name="T3" fmla="*/ 408 h 418"/>
                <a:gd name="T4" fmla="*/ 9 w 475"/>
                <a:gd name="T5" fmla="*/ 418 h 418"/>
                <a:gd name="T6" fmla="*/ 9 w 475"/>
                <a:gd name="T7" fmla="*/ 107 h 418"/>
                <a:gd name="T8" fmla="*/ 9 w 475"/>
                <a:gd name="T9" fmla="*/ 37 h 418"/>
                <a:gd name="T10" fmla="*/ 17 w 475"/>
                <a:gd name="T11" fmla="*/ 0 h 418"/>
                <a:gd name="T12" fmla="*/ 21 w 475"/>
                <a:gd name="T13" fmla="*/ 6 h 418"/>
                <a:gd name="T14" fmla="*/ 99 w 475"/>
                <a:gd name="T15" fmla="*/ 12 h 418"/>
                <a:gd name="T16" fmla="*/ 111 w 475"/>
                <a:gd name="T17" fmla="*/ 22 h 418"/>
                <a:gd name="T18" fmla="*/ 126 w 475"/>
                <a:gd name="T19" fmla="*/ 26 h 418"/>
                <a:gd name="T20" fmla="*/ 168 w 475"/>
                <a:gd name="T21" fmla="*/ 35 h 418"/>
                <a:gd name="T22" fmla="*/ 208 w 475"/>
                <a:gd name="T23" fmla="*/ 12 h 418"/>
                <a:gd name="T24" fmla="*/ 217 w 475"/>
                <a:gd name="T25" fmla="*/ 17 h 418"/>
                <a:gd name="T26" fmla="*/ 227 w 475"/>
                <a:gd name="T27" fmla="*/ 6 h 418"/>
                <a:gd name="T28" fmla="*/ 229 w 475"/>
                <a:gd name="T29" fmla="*/ 12 h 418"/>
                <a:gd name="T30" fmla="*/ 250 w 475"/>
                <a:gd name="T31" fmla="*/ 6 h 418"/>
                <a:gd name="T32" fmla="*/ 269 w 475"/>
                <a:gd name="T33" fmla="*/ 6 h 418"/>
                <a:gd name="T34" fmla="*/ 293 w 475"/>
                <a:gd name="T35" fmla="*/ 17 h 418"/>
                <a:gd name="T36" fmla="*/ 277 w 475"/>
                <a:gd name="T37" fmla="*/ 17 h 418"/>
                <a:gd name="T38" fmla="*/ 286 w 475"/>
                <a:gd name="T39" fmla="*/ 17 h 418"/>
                <a:gd name="T40" fmla="*/ 299 w 475"/>
                <a:gd name="T41" fmla="*/ 22 h 418"/>
                <a:gd name="T42" fmla="*/ 311 w 475"/>
                <a:gd name="T43" fmla="*/ 26 h 418"/>
                <a:gd name="T44" fmla="*/ 329 w 475"/>
                <a:gd name="T45" fmla="*/ 26 h 418"/>
                <a:gd name="T46" fmla="*/ 352 w 475"/>
                <a:gd name="T47" fmla="*/ 22 h 418"/>
                <a:gd name="T48" fmla="*/ 378 w 475"/>
                <a:gd name="T49" fmla="*/ 17 h 418"/>
                <a:gd name="T50" fmla="*/ 392 w 475"/>
                <a:gd name="T51" fmla="*/ 100 h 418"/>
                <a:gd name="T52" fmla="*/ 380 w 475"/>
                <a:gd name="T53" fmla="*/ 147 h 418"/>
                <a:gd name="T54" fmla="*/ 371 w 475"/>
                <a:gd name="T55" fmla="*/ 172 h 418"/>
                <a:gd name="T56" fmla="*/ 332 w 475"/>
                <a:gd name="T57" fmla="*/ 138 h 418"/>
                <a:gd name="T58" fmla="*/ 317 w 475"/>
                <a:gd name="T59" fmla="*/ 96 h 418"/>
                <a:gd name="T60" fmla="*/ 299 w 475"/>
                <a:gd name="T61" fmla="*/ 94 h 418"/>
                <a:gd name="T62" fmla="*/ 311 w 475"/>
                <a:gd name="T63" fmla="*/ 125 h 418"/>
                <a:gd name="T64" fmla="*/ 347 w 475"/>
                <a:gd name="T65" fmla="*/ 162 h 418"/>
                <a:gd name="T66" fmla="*/ 341 w 475"/>
                <a:gd name="T67" fmla="*/ 168 h 418"/>
                <a:gd name="T68" fmla="*/ 359 w 475"/>
                <a:gd name="T69" fmla="*/ 193 h 418"/>
                <a:gd name="T70" fmla="*/ 362 w 475"/>
                <a:gd name="T71" fmla="*/ 219 h 418"/>
                <a:gd name="T72" fmla="*/ 407 w 475"/>
                <a:gd name="T73" fmla="*/ 311 h 418"/>
                <a:gd name="T74" fmla="*/ 423 w 475"/>
                <a:gd name="T75" fmla="*/ 337 h 418"/>
                <a:gd name="T76" fmla="*/ 428 w 475"/>
                <a:gd name="T77" fmla="*/ 378 h 418"/>
                <a:gd name="T78" fmla="*/ 449 w 475"/>
                <a:gd name="T79" fmla="*/ 390 h 418"/>
                <a:gd name="T80" fmla="*/ 475 w 475"/>
                <a:gd name="T81" fmla="*/ 418 h 418"/>
                <a:gd name="T82" fmla="*/ 475 w 475"/>
                <a:gd name="T83" fmla="*/ 418 h 418"/>
                <a:gd name="T84" fmla="*/ 475 w 475"/>
                <a:gd name="T85" fmla="*/ 418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75" h="418">
                  <a:moveTo>
                    <a:pt x="475" y="418"/>
                  </a:moveTo>
                  <a:lnTo>
                    <a:pt x="263" y="418"/>
                  </a:lnTo>
                  <a:lnTo>
                    <a:pt x="269" y="415"/>
                  </a:lnTo>
                  <a:lnTo>
                    <a:pt x="263" y="408"/>
                  </a:lnTo>
                  <a:lnTo>
                    <a:pt x="257" y="418"/>
                  </a:lnTo>
                  <a:lnTo>
                    <a:pt x="9" y="418"/>
                  </a:lnTo>
                  <a:lnTo>
                    <a:pt x="9" y="177"/>
                  </a:lnTo>
                  <a:lnTo>
                    <a:pt x="9" y="107"/>
                  </a:lnTo>
                  <a:lnTo>
                    <a:pt x="0" y="66"/>
                  </a:lnTo>
                  <a:lnTo>
                    <a:pt x="9" y="37"/>
                  </a:lnTo>
                  <a:lnTo>
                    <a:pt x="5" y="12"/>
                  </a:lnTo>
                  <a:lnTo>
                    <a:pt x="17" y="0"/>
                  </a:lnTo>
                  <a:lnTo>
                    <a:pt x="17" y="3"/>
                  </a:lnTo>
                  <a:lnTo>
                    <a:pt x="21" y="6"/>
                  </a:lnTo>
                  <a:lnTo>
                    <a:pt x="48" y="0"/>
                  </a:lnTo>
                  <a:lnTo>
                    <a:pt x="99" y="12"/>
                  </a:lnTo>
                  <a:lnTo>
                    <a:pt x="106" y="17"/>
                  </a:lnTo>
                  <a:lnTo>
                    <a:pt x="111" y="22"/>
                  </a:lnTo>
                  <a:lnTo>
                    <a:pt x="121" y="17"/>
                  </a:lnTo>
                  <a:lnTo>
                    <a:pt x="126" y="26"/>
                  </a:lnTo>
                  <a:lnTo>
                    <a:pt x="142" y="26"/>
                  </a:lnTo>
                  <a:lnTo>
                    <a:pt x="168" y="35"/>
                  </a:lnTo>
                  <a:lnTo>
                    <a:pt x="187" y="31"/>
                  </a:lnTo>
                  <a:lnTo>
                    <a:pt x="208" y="12"/>
                  </a:lnTo>
                  <a:lnTo>
                    <a:pt x="211" y="17"/>
                  </a:lnTo>
                  <a:lnTo>
                    <a:pt x="217" y="17"/>
                  </a:lnTo>
                  <a:lnTo>
                    <a:pt x="220" y="3"/>
                  </a:lnTo>
                  <a:lnTo>
                    <a:pt x="227" y="6"/>
                  </a:lnTo>
                  <a:lnTo>
                    <a:pt x="248" y="3"/>
                  </a:lnTo>
                  <a:lnTo>
                    <a:pt x="229" y="12"/>
                  </a:lnTo>
                  <a:lnTo>
                    <a:pt x="241" y="6"/>
                  </a:lnTo>
                  <a:lnTo>
                    <a:pt x="250" y="6"/>
                  </a:lnTo>
                  <a:lnTo>
                    <a:pt x="248" y="3"/>
                  </a:lnTo>
                  <a:lnTo>
                    <a:pt x="269" y="6"/>
                  </a:lnTo>
                  <a:lnTo>
                    <a:pt x="281" y="3"/>
                  </a:lnTo>
                  <a:lnTo>
                    <a:pt x="293" y="17"/>
                  </a:lnTo>
                  <a:lnTo>
                    <a:pt x="281" y="3"/>
                  </a:lnTo>
                  <a:lnTo>
                    <a:pt x="277" y="17"/>
                  </a:lnTo>
                  <a:lnTo>
                    <a:pt x="281" y="22"/>
                  </a:lnTo>
                  <a:lnTo>
                    <a:pt x="286" y="17"/>
                  </a:lnTo>
                  <a:lnTo>
                    <a:pt x="290" y="26"/>
                  </a:lnTo>
                  <a:lnTo>
                    <a:pt x="299" y="22"/>
                  </a:lnTo>
                  <a:lnTo>
                    <a:pt x="293" y="17"/>
                  </a:lnTo>
                  <a:lnTo>
                    <a:pt x="311" y="26"/>
                  </a:lnTo>
                  <a:lnTo>
                    <a:pt x="329" y="22"/>
                  </a:lnTo>
                  <a:lnTo>
                    <a:pt x="329" y="26"/>
                  </a:lnTo>
                  <a:lnTo>
                    <a:pt x="341" y="22"/>
                  </a:lnTo>
                  <a:lnTo>
                    <a:pt x="352" y="22"/>
                  </a:lnTo>
                  <a:lnTo>
                    <a:pt x="371" y="12"/>
                  </a:lnTo>
                  <a:lnTo>
                    <a:pt x="378" y="17"/>
                  </a:lnTo>
                  <a:lnTo>
                    <a:pt x="399" y="96"/>
                  </a:lnTo>
                  <a:lnTo>
                    <a:pt x="392" y="100"/>
                  </a:lnTo>
                  <a:lnTo>
                    <a:pt x="390" y="128"/>
                  </a:lnTo>
                  <a:lnTo>
                    <a:pt x="380" y="147"/>
                  </a:lnTo>
                  <a:lnTo>
                    <a:pt x="380" y="158"/>
                  </a:lnTo>
                  <a:lnTo>
                    <a:pt x="371" y="172"/>
                  </a:lnTo>
                  <a:lnTo>
                    <a:pt x="352" y="158"/>
                  </a:lnTo>
                  <a:lnTo>
                    <a:pt x="332" y="138"/>
                  </a:lnTo>
                  <a:lnTo>
                    <a:pt x="332" y="116"/>
                  </a:lnTo>
                  <a:lnTo>
                    <a:pt x="317" y="96"/>
                  </a:lnTo>
                  <a:lnTo>
                    <a:pt x="307" y="68"/>
                  </a:lnTo>
                  <a:lnTo>
                    <a:pt x="299" y="94"/>
                  </a:lnTo>
                  <a:lnTo>
                    <a:pt x="307" y="100"/>
                  </a:lnTo>
                  <a:lnTo>
                    <a:pt x="311" y="125"/>
                  </a:lnTo>
                  <a:lnTo>
                    <a:pt x="329" y="149"/>
                  </a:lnTo>
                  <a:lnTo>
                    <a:pt x="347" y="162"/>
                  </a:lnTo>
                  <a:lnTo>
                    <a:pt x="347" y="168"/>
                  </a:lnTo>
                  <a:lnTo>
                    <a:pt x="341" y="168"/>
                  </a:lnTo>
                  <a:lnTo>
                    <a:pt x="341" y="177"/>
                  </a:lnTo>
                  <a:lnTo>
                    <a:pt x="359" y="193"/>
                  </a:lnTo>
                  <a:lnTo>
                    <a:pt x="362" y="209"/>
                  </a:lnTo>
                  <a:lnTo>
                    <a:pt x="362" y="219"/>
                  </a:lnTo>
                  <a:lnTo>
                    <a:pt x="383" y="262"/>
                  </a:lnTo>
                  <a:lnTo>
                    <a:pt x="407" y="311"/>
                  </a:lnTo>
                  <a:lnTo>
                    <a:pt x="438" y="337"/>
                  </a:lnTo>
                  <a:lnTo>
                    <a:pt x="423" y="337"/>
                  </a:lnTo>
                  <a:lnTo>
                    <a:pt x="423" y="355"/>
                  </a:lnTo>
                  <a:lnTo>
                    <a:pt x="428" y="378"/>
                  </a:lnTo>
                  <a:lnTo>
                    <a:pt x="438" y="387"/>
                  </a:lnTo>
                  <a:lnTo>
                    <a:pt x="449" y="390"/>
                  </a:lnTo>
                  <a:lnTo>
                    <a:pt x="462" y="406"/>
                  </a:lnTo>
                  <a:lnTo>
                    <a:pt x="475" y="418"/>
                  </a:lnTo>
                  <a:lnTo>
                    <a:pt x="475" y="418"/>
                  </a:lnTo>
                  <a:lnTo>
                    <a:pt x="475" y="418"/>
                  </a:lnTo>
                  <a:lnTo>
                    <a:pt x="475" y="418"/>
                  </a:lnTo>
                  <a:lnTo>
                    <a:pt x="475" y="41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3" name="Freeform 19">
              <a:extLst>
                <a:ext uri="{FF2B5EF4-FFF2-40B4-BE49-F238E27FC236}">
                  <a16:creationId xmlns:a16="http://schemas.microsoft.com/office/drawing/2014/main" id="{E159BCB9-0B87-42CA-BA22-51BA4E24C8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508603" y="5103217"/>
              <a:ext cx="104007" cy="102150"/>
            </a:xfrm>
            <a:custGeom>
              <a:avLst/>
              <a:gdLst>
                <a:gd name="T0" fmla="*/ 14 w 112"/>
                <a:gd name="T1" fmla="*/ 10 h 110"/>
                <a:gd name="T2" fmla="*/ 8 w 112"/>
                <a:gd name="T3" fmla="*/ 23 h 110"/>
                <a:gd name="T4" fmla="*/ 0 w 112"/>
                <a:gd name="T5" fmla="*/ 19 h 110"/>
                <a:gd name="T6" fmla="*/ 0 w 112"/>
                <a:gd name="T7" fmla="*/ 10 h 110"/>
                <a:gd name="T8" fmla="*/ 3 w 112"/>
                <a:gd name="T9" fmla="*/ 10 h 110"/>
                <a:gd name="T10" fmla="*/ 8 w 112"/>
                <a:gd name="T11" fmla="*/ 0 h 110"/>
                <a:gd name="T12" fmla="*/ 14 w 112"/>
                <a:gd name="T13" fmla="*/ 0 h 110"/>
                <a:gd name="T14" fmla="*/ 14 w 112"/>
                <a:gd name="T15" fmla="*/ 10 h 110"/>
                <a:gd name="T16" fmla="*/ 14 w 112"/>
                <a:gd name="T17" fmla="*/ 10 h 110"/>
                <a:gd name="T18" fmla="*/ 14 w 112"/>
                <a:gd name="T19" fmla="*/ 10 h 110"/>
                <a:gd name="T20" fmla="*/ 14 w 112"/>
                <a:gd name="T21" fmla="*/ 10 h 110"/>
                <a:gd name="T22" fmla="*/ 14 w 112"/>
                <a:gd name="T23" fmla="*/ 10 h 110"/>
                <a:gd name="T24" fmla="*/ 51 w 112"/>
                <a:gd name="T25" fmla="*/ 53 h 110"/>
                <a:gd name="T26" fmla="*/ 61 w 112"/>
                <a:gd name="T27" fmla="*/ 62 h 110"/>
                <a:gd name="T28" fmla="*/ 112 w 112"/>
                <a:gd name="T29" fmla="*/ 62 h 110"/>
                <a:gd name="T30" fmla="*/ 112 w 112"/>
                <a:gd name="T31" fmla="*/ 110 h 110"/>
                <a:gd name="T32" fmla="*/ 61 w 112"/>
                <a:gd name="T33" fmla="*/ 110 h 110"/>
                <a:gd name="T34" fmla="*/ 54 w 112"/>
                <a:gd name="T35" fmla="*/ 110 h 110"/>
                <a:gd name="T36" fmla="*/ 51 w 112"/>
                <a:gd name="T37" fmla="*/ 110 h 110"/>
                <a:gd name="T38" fmla="*/ 51 w 112"/>
                <a:gd name="T39" fmla="*/ 103 h 110"/>
                <a:gd name="T40" fmla="*/ 42 w 112"/>
                <a:gd name="T41" fmla="*/ 103 h 110"/>
                <a:gd name="T42" fmla="*/ 33 w 112"/>
                <a:gd name="T43" fmla="*/ 101 h 110"/>
                <a:gd name="T44" fmla="*/ 51 w 112"/>
                <a:gd name="T45" fmla="*/ 71 h 110"/>
                <a:gd name="T46" fmla="*/ 51 w 112"/>
                <a:gd name="T47" fmla="*/ 53 h 110"/>
                <a:gd name="T48" fmla="*/ 51 w 112"/>
                <a:gd name="T49" fmla="*/ 53 h 110"/>
                <a:gd name="T50" fmla="*/ 51 w 112"/>
                <a:gd name="T51" fmla="*/ 53 h 110"/>
                <a:gd name="T52" fmla="*/ 51 w 112"/>
                <a:gd name="T53" fmla="*/ 53 h 110"/>
                <a:gd name="T54" fmla="*/ 51 w 112"/>
                <a:gd name="T55" fmla="*/ 53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2" h="110">
                  <a:moveTo>
                    <a:pt x="14" y="10"/>
                  </a:moveTo>
                  <a:lnTo>
                    <a:pt x="8" y="23"/>
                  </a:lnTo>
                  <a:lnTo>
                    <a:pt x="0" y="19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lnTo>
                    <a:pt x="14" y="10"/>
                  </a:lnTo>
                  <a:close/>
                  <a:moveTo>
                    <a:pt x="51" y="53"/>
                  </a:moveTo>
                  <a:lnTo>
                    <a:pt x="61" y="62"/>
                  </a:lnTo>
                  <a:lnTo>
                    <a:pt x="112" y="62"/>
                  </a:lnTo>
                  <a:lnTo>
                    <a:pt x="112" y="110"/>
                  </a:lnTo>
                  <a:lnTo>
                    <a:pt x="61" y="110"/>
                  </a:lnTo>
                  <a:lnTo>
                    <a:pt x="54" y="110"/>
                  </a:lnTo>
                  <a:lnTo>
                    <a:pt x="51" y="110"/>
                  </a:lnTo>
                  <a:lnTo>
                    <a:pt x="51" y="103"/>
                  </a:lnTo>
                  <a:lnTo>
                    <a:pt x="42" y="103"/>
                  </a:lnTo>
                  <a:lnTo>
                    <a:pt x="33" y="101"/>
                  </a:lnTo>
                  <a:lnTo>
                    <a:pt x="51" y="71"/>
                  </a:lnTo>
                  <a:lnTo>
                    <a:pt x="51" y="53"/>
                  </a:lnTo>
                  <a:lnTo>
                    <a:pt x="51" y="53"/>
                  </a:lnTo>
                  <a:lnTo>
                    <a:pt x="51" y="53"/>
                  </a:lnTo>
                  <a:lnTo>
                    <a:pt x="51" y="53"/>
                  </a:lnTo>
                  <a:lnTo>
                    <a:pt x="51" y="5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4" name="Freeform 20">
              <a:extLst>
                <a:ext uri="{FF2B5EF4-FFF2-40B4-BE49-F238E27FC236}">
                  <a16:creationId xmlns:a16="http://schemas.microsoft.com/office/drawing/2014/main" id="{62DE25E5-991A-4A49-BB6E-9034DB4A2CB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28244" y="4559037"/>
              <a:ext cx="245160" cy="217300"/>
            </a:xfrm>
            <a:custGeom>
              <a:avLst/>
              <a:gdLst>
                <a:gd name="T0" fmla="*/ 252 w 264"/>
                <a:gd name="T1" fmla="*/ 225 h 234"/>
                <a:gd name="T2" fmla="*/ 245 w 264"/>
                <a:gd name="T3" fmla="*/ 234 h 234"/>
                <a:gd name="T4" fmla="*/ 233 w 264"/>
                <a:gd name="T5" fmla="*/ 232 h 234"/>
                <a:gd name="T6" fmla="*/ 214 w 264"/>
                <a:gd name="T7" fmla="*/ 214 h 234"/>
                <a:gd name="T8" fmla="*/ 191 w 264"/>
                <a:gd name="T9" fmla="*/ 182 h 234"/>
                <a:gd name="T10" fmla="*/ 152 w 264"/>
                <a:gd name="T11" fmla="*/ 145 h 234"/>
                <a:gd name="T12" fmla="*/ 121 w 264"/>
                <a:gd name="T13" fmla="*/ 142 h 234"/>
                <a:gd name="T14" fmla="*/ 103 w 264"/>
                <a:gd name="T15" fmla="*/ 139 h 234"/>
                <a:gd name="T16" fmla="*/ 81 w 264"/>
                <a:gd name="T17" fmla="*/ 152 h 234"/>
                <a:gd name="T18" fmla="*/ 64 w 264"/>
                <a:gd name="T19" fmla="*/ 139 h 234"/>
                <a:gd name="T20" fmla="*/ 45 w 264"/>
                <a:gd name="T21" fmla="*/ 163 h 234"/>
                <a:gd name="T22" fmla="*/ 29 w 264"/>
                <a:gd name="T23" fmla="*/ 152 h 234"/>
                <a:gd name="T24" fmla="*/ 15 w 264"/>
                <a:gd name="T25" fmla="*/ 152 h 234"/>
                <a:gd name="T26" fmla="*/ 0 w 264"/>
                <a:gd name="T27" fmla="*/ 121 h 234"/>
                <a:gd name="T28" fmla="*/ 15 w 264"/>
                <a:gd name="T29" fmla="*/ 62 h 234"/>
                <a:gd name="T30" fmla="*/ 22 w 264"/>
                <a:gd name="T31" fmla="*/ 40 h 234"/>
                <a:gd name="T32" fmla="*/ 42 w 264"/>
                <a:gd name="T33" fmla="*/ 31 h 234"/>
                <a:gd name="T34" fmla="*/ 72 w 264"/>
                <a:gd name="T35" fmla="*/ 22 h 234"/>
                <a:gd name="T36" fmla="*/ 103 w 264"/>
                <a:gd name="T37" fmla="*/ 37 h 234"/>
                <a:gd name="T38" fmla="*/ 115 w 264"/>
                <a:gd name="T39" fmla="*/ 94 h 234"/>
                <a:gd name="T40" fmla="*/ 124 w 264"/>
                <a:gd name="T41" fmla="*/ 108 h 234"/>
                <a:gd name="T42" fmla="*/ 133 w 264"/>
                <a:gd name="T43" fmla="*/ 124 h 234"/>
                <a:gd name="T44" fmla="*/ 133 w 264"/>
                <a:gd name="T45" fmla="*/ 112 h 234"/>
                <a:gd name="T46" fmla="*/ 145 w 264"/>
                <a:gd name="T47" fmla="*/ 124 h 234"/>
                <a:gd name="T48" fmla="*/ 160 w 264"/>
                <a:gd name="T49" fmla="*/ 124 h 234"/>
                <a:gd name="T50" fmla="*/ 172 w 264"/>
                <a:gd name="T51" fmla="*/ 139 h 234"/>
                <a:gd name="T52" fmla="*/ 207 w 264"/>
                <a:gd name="T53" fmla="*/ 170 h 234"/>
                <a:gd name="T54" fmla="*/ 224 w 264"/>
                <a:gd name="T55" fmla="*/ 182 h 234"/>
                <a:gd name="T56" fmla="*/ 226 w 264"/>
                <a:gd name="T57" fmla="*/ 182 h 234"/>
                <a:gd name="T58" fmla="*/ 245 w 264"/>
                <a:gd name="T59" fmla="*/ 204 h 234"/>
                <a:gd name="T60" fmla="*/ 255 w 264"/>
                <a:gd name="T61" fmla="*/ 216 h 234"/>
                <a:gd name="T62" fmla="*/ 264 w 264"/>
                <a:gd name="T63" fmla="*/ 216 h 234"/>
                <a:gd name="T64" fmla="*/ 264 w 264"/>
                <a:gd name="T65" fmla="*/ 216 h 234"/>
                <a:gd name="T66" fmla="*/ 264 w 264"/>
                <a:gd name="T67" fmla="*/ 216 h 234"/>
                <a:gd name="T68" fmla="*/ 142 w 264"/>
                <a:gd name="T69" fmla="*/ 80 h 234"/>
                <a:gd name="T70" fmla="*/ 145 w 264"/>
                <a:gd name="T71" fmla="*/ 83 h 234"/>
                <a:gd name="T72" fmla="*/ 142 w 264"/>
                <a:gd name="T73" fmla="*/ 83 h 234"/>
                <a:gd name="T74" fmla="*/ 142 w 264"/>
                <a:gd name="T75" fmla="*/ 83 h 234"/>
                <a:gd name="T76" fmla="*/ 142 w 264"/>
                <a:gd name="T77" fmla="*/ 90 h 234"/>
                <a:gd name="T78" fmla="*/ 145 w 264"/>
                <a:gd name="T79" fmla="*/ 99 h 234"/>
                <a:gd name="T80" fmla="*/ 155 w 264"/>
                <a:gd name="T81" fmla="*/ 102 h 234"/>
                <a:gd name="T82" fmla="*/ 136 w 264"/>
                <a:gd name="T83" fmla="*/ 99 h 234"/>
                <a:gd name="T84" fmla="*/ 136 w 264"/>
                <a:gd name="T85" fmla="*/ 94 h 234"/>
                <a:gd name="T86" fmla="*/ 142 w 264"/>
                <a:gd name="T87" fmla="*/ 90 h 234"/>
                <a:gd name="T88" fmla="*/ 142 w 264"/>
                <a:gd name="T89" fmla="*/ 90 h 234"/>
                <a:gd name="T90" fmla="*/ 142 w 264"/>
                <a:gd name="T91" fmla="*/ 9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4" h="234">
                  <a:moveTo>
                    <a:pt x="264" y="216"/>
                  </a:moveTo>
                  <a:lnTo>
                    <a:pt x="252" y="225"/>
                  </a:lnTo>
                  <a:lnTo>
                    <a:pt x="252" y="232"/>
                  </a:lnTo>
                  <a:lnTo>
                    <a:pt x="245" y="234"/>
                  </a:lnTo>
                  <a:lnTo>
                    <a:pt x="236" y="225"/>
                  </a:lnTo>
                  <a:lnTo>
                    <a:pt x="233" y="232"/>
                  </a:lnTo>
                  <a:lnTo>
                    <a:pt x="226" y="216"/>
                  </a:lnTo>
                  <a:lnTo>
                    <a:pt x="214" y="214"/>
                  </a:lnTo>
                  <a:lnTo>
                    <a:pt x="212" y="200"/>
                  </a:lnTo>
                  <a:lnTo>
                    <a:pt x="191" y="182"/>
                  </a:lnTo>
                  <a:lnTo>
                    <a:pt x="172" y="161"/>
                  </a:lnTo>
                  <a:lnTo>
                    <a:pt x="152" y="145"/>
                  </a:lnTo>
                  <a:lnTo>
                    <a:pt x="136" y="152"/>
                  </a:lnTo>
                  <a:lnTo>
                    <a:pt x="121" y="142"/>
                  </a:lnTo>
                  <a:lnTo>
                    <a:pt x="112" y="145"/>
                  </a:lnTo>
                  <a:lnTo>
                    <a:pt x="103" y="139"/>
                  </a:lnTo>
                  <a:lnTo>
                    <a:pt x="100" y="145"/>
                  </a:lnTo>
                  <a:lnTo>
                    <a:pt x="81" y="152"/>
                  </a:lnTo>
                  <a:lnTo>
                    <a:pt x="72" y="139"/>
                  </a:lnTo>
                  <a:lnTo>
                    <a:pt x="64" y="139"/>
                  </a:lnTo>
                  <a:lnTo>
                    <a:pt x="60" y="130"/>
                  </a:lnTo>
                  <a:lnTo>
                    <a:pt x="45" y="163"/>
                  </a:lnTo>
                  <a:lnTo>
                    <a:pt x="33" y="145"/>
                  </a:lnTo>
                  <a:lnTo>
                    <a:pt x="29" y="152"/>
                  </a:lnTo>
                  <a:lnTo>
                    <a:pt x="22" y="154"/>
                  </a:lnTo>
                  <a:lnTo>
                    <a:pt x="15" y="152"/>
                  </a:lnTo>
                  <a:lnTo>
                    <a:pt x="2" y="154"/>
                  </a:lnTo>
                  <a:lnTo>
                    <a:pt x="0" y="121"/>
                  </a:lnTo>
                  <a:lnTo>
                    <a:pt x="22" y="71"/>
                  </a:lnTo>
                  <a:lnTo>
                    <a:pt x="15" y="62"/>
                  </a:lnTo>
                  <a:lnTo>
                    <a:pt x="22" y="52"/>
                  </a:lnTo>
                  <a:lnTo>
                    <a:pt x="22" y="40"/>
                  </a:lnTo>
                  <a:lnTo>
                    <a:pt x="38" y="40"/>
                  </a:lnTo>
                  <a:lnTo>
                    <a:pt x="42" y="31"/>
                  </a:lnTo>
                  <a:lnTo>
                    <a:pt x="64" y="18"/>
                  </a:lnTo>
                  <a:lnTo>
                    <a:pt x="72" y="22"/>
                  </a:lnTo>
                  <a:lnTo>
                    <a:pt x="84" y="0"/>
                  </a:lnTo>
                  <a:lnTo>
                    <a:pt x="103" y="37"/>
                  </a:lnTo>
                  <a:lnTo>
                    <a:pt x="112" y="83"/>
                  </a:lnTo>
                  <a:lnTo>
                    <a:pt x="115" y="94"/>
                  </a:lnTo>
                  <a:lnTo>
                    <a:pt x="121" y="102"/>
                  </a:lnTo>
                  <a:lnTo>
                    <a:pt x="124" y="108"/>
                  </a:lnTo>
                  <a:lnTo>
                    <a:pt x="130" y="121"/>
                  </a:lnTo>
                  <a:lnTo>
                    <a:pt x="133" y="124"/>
                  </a:lnTo>
                  <a:lnTo>
                    <a:pt x="133" y="121"/>
                  </a:lnTo>
                  <a:lnTo>
                    <a:pt x="133" y="112"/>
                  </a:lnTo>
                  <a:lnTo>
                    <a:pt x="136" y="108"/>
                  </a:lnTo>
                  <a:lnTo>
                    <a:pt x="145" y="124"/>
                  </a:lnTo>
                  <a:lnTo>
                    <a:pt x="152" y="130"/>
                  </a:lnTo>
                  <a:lnTo>
                    <a:pt x="160" y="124"/>
                  </a:lnTo>
                  <a:lnTo>
                    <a:pt x="167" y="130"/>
                  </a:lnTo>
                  <a:lnTo>
                    <a:pt x="172" y="139"/>
                  </a:lnTo>
                  <a:lnTo>
                    <a:pt x="185" y="142"/>
                  </a:lnTo>
                  <a:lnTo>
                    <a:pt x="207" y="170"/>
                  </a:lnTo>
                  <a:lnTo>
                    <a:pt x="214" y="172"/>
                  </a:lnTo>
                  <a:lnTo>
                    <a:pt x="224" y="182"/>
                  </a:lnTo>
                  <a:lnTo>
                    <a:pt x="224" y="182"/>
                  </a:lnTo>
                  <a:lnTo>
                    <a:pt x="226" y="182"/>
                  </a:lnTo>
                  <a:lnTo>
                    <a:pt x="233" y="200"/>
                  </a:lnTo>
                  <a:lnTo>
                    <a:pt x="245" y="204"/>
                  </a:lnTo>
                  <a:lnTo>
                    <a:pt x="252" y="214"/>
                  </a:lnTo>
                  <a:lnTo>
                    <a:pt x="255" y="216"/>
                  </a:lnTo>
                  <a:lnTo>
                    <a:pt x="257" y="214"/>
                  </a:lnTo>
                  <a:lnTo>
                    <a:pt x="264" y="216"/>
                  </a:lnTo>
                  <a:lnTo>
                    <a:pt x="264" y="216"/>
                  </a:lnTo>
                  <a:lnTo>
                    <a:pt x="264" y="216"/>
                  </a:lnTo>
                  <a:lnTo>
                    <a:pt x="264" y="216"/>
                  </a:lnTo>
                  <a:lnTo>
                    <a:pt x="264" y="216"/>
                  </a:lnTo>
                  <a:close/>
                  <a:moveTo>
                    <a:pt x="142" y="83"/>
                  </a:moveTo>
                  <a:lnTo>
                    <a:pt x="142" y="80"/>
                  </a:lnTo>
                  <a:lnTo>
                    <a:pt x="145" y="80"/>
                  </a:lnTo>
                  <a:lnTo>
                    <a:pt x="145" y="83"/>
                  </a:lnTo>
                  <a:lnTo>
                    <a:pt x="142" y="83"/>
                  </a:lnTo>
                  <a:lnTo>
                    <a:pt x="142" y="83"/>
                  </a:lnTo>
                  <a:lnTo>
                    <a:pt x="142" y="83"/>
                  </a:lnTo>
                  <a:lnTo>
                    <a:pt x="142" y="83"/>
                  </a:lnTo>
                  <a:lnTo>
                    <a:pt x="142" y="83"/>
                  </a:lnTo>
                  <a:close/>
                  <a:moveTo>
                    <a:pt x="142" y="90"/>
                  </a:moveTo>
                  <a:lnTo>
                    <a:pt x="145" y="94"/>
                  </a:lnTo>
                  <a:lnTo>
                    <a:pt x="145" y="99"/>
                  </a:lnTo>
                  <a:lnTo>
                    <a:pt x="152" y="99"/>
                  </a:lnTo>
                  <a:lnTo>
                    <a:pt x="155" y="102"/>
                  </a:lnTo>
                  <a:lnTo>
                    <a:pt x="136" y="102"/>
                  </a:lnTo>
                  <a:lnTo>
                    <a:pt x="136" y="99"/>
                  </a:lnTo>
                  <a:lnTo>
                    <a:pt x="142" y="99"/>
                  </a:lnTo>
                  <a:lnTo>
                    <a:pt x="136" y="94"/>
                  </a:lnTo>
                  <a:lnTo>
                    <a:pt x="142" y="94"/>
                  </a:lnTo>
                  <a:lnTo>
                    <a:pt x="142" y="90"/>
                  </a:lnTo>
                  <a:lnTo>
                    <a:pt x="142" y="90"/>
                  </a:lnTo>
                  <a:lnTo>
                    <a:pt x="142" y="90"/>
                  </a:lnTo>
                  <a:lnTo>
                    <a:pt x="142" y="90"/>
                  </a:lnTo>
                  <a:lnTo>
                    <a:pt x="142" y="9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5" name="Freeform 21">
              <a:extLst>
                <a:ext uri="{FF2B5EF4-FFF2-40B4-BE49-F238E27FC236}">
                  <a16:creationId xmlns:a16="http://schemas.microsoft.com/office/drawing/2014/main" id="{99EDF6B1-E054-4225-8C8A-854EB371A3A5}"/>
                </a:ext>
              </a:extLst>
            </p:cNvPr>
            <p:cNvSpPr>
              <a:spLocks/>
            </p:cNvSpPr>
            <p:nvPr/>
          </p:nvSpPr>
          <p:spPr bwMode="gray">
            <a:xfrm>
              <a:off x="7400092" y="4679760"/>
              <a:ext cx="549752" cy="436458"/>
            </a:xfrm>
            <a:custGeom>
              <a:avLst/>
              <a:gdLst>
                <a:gd name="T0" fmla="*/ 352 w 592"/>
                <a:gd name="T1" fmla="*/ 444 h 470"/>
                <a:gd name="T2" fmla="*/ 310 w 592"/>
                <a:gd name="T3" fmla="*/ 435 h 470"/>
                <a:gd name="T4" fmla="*/ 258 w 592"/>
                <a:gd name="T5" fmla="*/ 470 h 470"/>
                <a:gd name="T6" fmla="*/ 207 w 592"/>
                <a:gd name="T7" fmla="*/ 460 h 470"/>
                <a:gd name="T8" fmla="*/ 121 w 592"/>
                <a:gd name="T9" fmla="*/ 426 h 470"/>
                <a:gd name="T10" fmla="*/ 110 w 592"/>
                <a:gd name="T11" fmla="*/ 412 h 470"/>
                <a:gd name="T12" fmla="*/ 101 w 592"/>
                <a:gd name="T13" fmla="*/ 385 h 470"/>
                <a:gd name="T14" fmla="*/ 91 w 592"/>
                <a:gd name="T15" fmla="*/ 385 h 470"/>
                <a:gd name="T16" fmla="*/ 79 w 592"/>
                <a:gd name="T17" fmla="*/ 364 h 470"/>
                <a:gd name="T18" fmla="*/ 61 w 592"/>
                <a:gd name="T19" fmla="*/ 332 h 470"/>
                <a:gd name="T20" fmla="*/ 49 w 592"/>
                <a:gd name="T21" fmla="*/ 323 h 470"/>
                <a:gd name="T22" fmla="*/ 18 w 592"/>
                <a:gd name="T23" fmla="*/ 292 h 470"/>
                <a:gd name="T24" fmla="*/ 0 w 592"/>
                <a:gd name="T25" fmla="*/ 283 h 470"/>
                <a:gd name="T26" fmla="*/ 9 w 592"/>
                <a:gd name="T27" fmla="*/ 265 h 470"/>
                <a:gd name="T28" fmla="*/ 28 w 592"/>
                <a:gd name="T29" fmla="*/ 261 h 470"/>
                <a:gd name="T30" fmla="*/ 46 w 592"/>
                <a:gd name="T31" fmla="*/ 258 h 470"/>
                <a:gd name="T32" fmla="*/ 54 w 592"/>
                <a:gd name="T33" fmla="*/ 189 h 470"/>
                <a:gd name="T34" fmla="*/ 68 w 592"/>
                <a:gd name="T35" fmla="*/ 166 h 470"/>
                <a:gd name="T36" fmla="*/ 79 w 592"/>
                <a:gd name="T37" fmla="*/ 166 h 470"/>
                <a:gd name="T38" fmla="*/ 85 w 592"/>
                <a:gd name="T39" fmla="*/ 138 h 470"/>
                <a:gd name="T40" fmla="*/ 91 w 592"/>
                <a:gd name="T41" fmla="*/ 124 h 470"/>
                <a:gd name="T42" fmla="*/ 127 w 592"/>
                <a:gd name="T43" fmla="*/ 87 h 470"/>
                <a:gd name="T44" fmla="*/ 140 w 592"/>
                <a:gd name="T45" fmla="*/ 44 h 470"/>
                <a:gd name="T46" fmla="*/ 140 w 592"/>
                <a:gd name="T47" fmla="*/ 25 h 470"/>
                <a:gd name="T48" fmla="*/ 157 w 592"/>
                <a:gd name="T49" fmla="*/ 25 h 470"/>
                <a:gd name="T50" fmla="*/ 171 w 592"/>
                <a:gd name="T51" fmla="*/ 16 h 470"/>
                <a:gd name="T52" fmla="*/ 197 w 592"/>
                <a:gd name="T53" fmla="*/ 0 h 470"/>
                <a:gd name="T54" fmla="*/ 209 w 592"/>
                <a:gd name="T55" fmla="*/ 10 h 470"/>
                <a:gd name="T56" fmla="*/ 237 w 592"/>
                <a:gd name="T57" fmla="*/ 16 h 470"/>
                <a:gd name="T58" fmla="*/ 249 w 592"/>
                <a:gd name="T59" fmla="*/ 16 h 470"/>
                <a:gd name="T60" fmla="*/ 273 w 592"/>
                <a:gd name="T61" fmla="*/ 23 h 470"/>
                <a:gd name="T62" fmla="*/ 310 w 592"/>
                <a:gd name="T63" fmla="*/ 32 h 470"/>
                <a:gd name="T64" fmla="*/ 350 w 592"/>
                <a:gd name="T65" fmla="*/ 72 h 470"/>
                <a:gd name="T66" fmla="*/ 364 w 592"/>
                <a:gd name="T67" fmla="*/ 87 h 470"/>
                <a:gd name="T68" fmla="*/ 350 w 592"/>
                <a:gd name="T69" fmla="*/ 129 h 470"/>
                <a:gd name="T70" fmla="*/ 350 w 592"/>
                <a:gd name="T71" fmla="*/ 159 h 470"/>
                <a:gd name="T72" fmla="*/ 383 w 592"/>
                <a:gd name="T73" fmla="*/ 156 h 470"/>
                <a:gd name="T74" fmla="*/ 383 w 592"/>
                <a:gd name="T75" fmla="*/ 177 h 470"/>
                <a:gd name="T76" fmla="*/ 401 w 592"/>
                <a:gd name="T77" fmla="*/ 203 h 470"/>
                <a:gd name="T78" fmla="*/ 413 w 592"/>
                <a:gd name="T79" fmla="*/ 228 h 470"/>
                <a:gd name="T80" fmla="*/ 434 w 592"/>
                <a:gd name="T81" fmla="*/ 242 h 470"/>
                <a:gd name="T82" fmla="*/ 592 w 592"/>
                <a:gd name="T83" fmla="*/ 283 h 470"/>
                <a:gd name="T84" fmla="*/ 434 w 592"/>
                <a:gd name="T85" fmla="*/ 404 h 470"/>
                <a:gd name="T86" fmla="*/ 401 w 592"/>
                <a:gd name="T87" fmla="*/ 416 h 470"/>
                <a:gd name="T88" fmla="*/ 359 w 592"/>
                <a:gd name="T89" fmla="*/ 438 h 470"/>
                <a:gd name="T90" fmla="*/ 359 w 592"/>
                <a:gd name="T91" fmla="*/ 438 h 470"/>
                <a:gd name="T92" fmla="*/ 359 w 592"/>
                <a:gd name="T93" fmla="*/ 438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92" h="470">
                  <a:moveTo>
                    <a:pt x="359" y="438"/>
                  </a:moveTo>
                  <a:lnTo>
                    <a:pt x="352" y="444"/>
                  </a:lnTo>
                  <a:lnTo>
                    <a:pt x="322" y="447"/>
                  </a:lnTo>
                  <a:lnTo>
                    <a:pt x="310" y="435"/>
                  </a:lnTo>
                  <a:lnTo>
                    <a:pt x="270" y="447"/>
                  </a:lnTo>
                  <a:lnTo>
                    <a:pt x="258" y="470"/>
                  </a:lnTo>
                  <a:lnTo>
                    <a:pt x="218" y="460"/>
                  </a:lnTo>
                  <a:lnTo>
                    <a:pt x="207" y="460"/>
                  </a:lnTo>
                  <a:lnTo>
                    <a:pt x="161" y="429"/>
                  </a:lnTo>
                  <a:lnTo>
                    <a:pt x="121" y="426"/>
                  </a:lnTo>
                  <a:lnTo>
                    <a:pt x="119" y="419"/>
                  </a:lnTo>
                  <a:lnTo>
                    <a:pt x="110" y="412"/>
                  </a:lnTo>
                  <a:lnTo>
                    <a:pt x="115" y="389"/>
                  </a:lnTo>
                  <a:lnTo>
                    <a:pt x="101" y="385"/>
                  </a:lnTo>
                  <a:lnTo>
                    <a:pt x="91" y="389"/>
                  </a:lnTo>
                  <a:lnTo>
                    <a:pt x="91" y="385"/>
                  </a:lnTo>
                  <a:lnTo>
                    <a:pt x="85" y="376"/>
                  </a:lnTo>
                  <a:lnTo>
                    <a:pt x="79" y="364"/>
                  </a:lnTo>
                  <a:lnTo>
                    <a:pt x="70" y="336"/>
                  </a:lnTo>
                  <a:lnTo>
                    <a:pt x="61" y="332"/>
                  </a:lnTo>
                  <a:lnTo>
                    <a:pt x="58" y="327"/>
                  </a:lnTo>
                  <a:lnTo>
                    <a:pt x="49" y="323"/>
                  </a:lnTo>
                  <a:lnTo>
                    <a:pt x="37" y="302"/>
                  </a:lnTo>
                  <a:lnTo>
                    <a:pt x="18" y="292"/>
                  </a:lnTo>
                  <a:lnTo>
                    <a:pt x="0" y="292"/>
                  </a:lnTo>
                  <a:lnTo>
                    <a:pt x="0" y="283"/>
                  </a:lnTo>
                  <a:lnTo>
                    <a:pt x="9" y="274"/>
                  </a:lnTo>
                  <a:lnTo>
                    <a:pt x="9" y="265"/>
                  </a:lnTo>
                  <a:lnTo>
                    <a:pt x="9" y="265"/>
                  </a:lnTo>
                  <a:lnTo>
                    <a:pt x="28" y="261"/>
                  </a:lnTo>
                  <a:lnTo>
                    <a:pt x="30" y="265"/>
                  </a:lnTo>
                  <a:lnTo>
                    <a:pt x="46" y="258"/>
                  </a:lnTo>
                  <a:lnTo>
                    <a:pt x="46" y="221"/>
                  </a:lnTo>
                  <a:lnTo>
                    <a:pt x="54" y="189"/>
                  </a:lnTo>
                  <a:lnTo>
                    <a:pt x="54" y="177"/>
                  </a:lnTo>
                  <a:lnTo>
                    <a:pt x="68" y="166"/>
                  </a:lnTo>
                  <a:lnTo>
                    <a:pt x="76" y="171"/>
                  </a:lnTo>
                  <a:lnTo>
                    <a:pt x="79" y="166"/>
                  </a:lnTo>
                  <a:lnTo>
                    <a:pt x="79" y="149"/>
                  </a:lnTo>
                  <a:lnTo>
                    <a:pt x="85" y="138"/>
                  </a:lnTo>
                  <a:lnTo>
                    <a:pt x="85" y="129"/>
                  </a:lnTo>
                  <a:lnTo>
                    <a:pt x="91" y="124"/>
                  </a:lnTo>
                  <a:lnTo>
                    <a:pt x="110" y="94"/>
                  </a:lnTo>
                  <a:lnTo>
                    <a:pt x="127" y="87"/>
                  </a:lnTo>
                  <a:lnTo>
                    <a:pt x="127" y="76"/>
                  </a:lnTo>
                  <a:lnTo>
                    <a:pt x="140" y="44"/>
                  </a:lnTo>
                  <a:lnTo>
                    <a:pt x="136" y="41"/>
                  </a:lnTo>
                  <a:lnTo>
                    <a:pt x="140" y="25"/>
                  </a:lnTo>
                  <a:lnTo>
                    <a:pt x="152" y="23"/>
                  </a:lnTo>
                  <a:lnTo>
                    <a:pt x="157" y="25"/>
                  </a:lnTo>
                  <a:lnTo>
                    <a:pt x="167" y="23"/>
                  </a:lnTo>
                  <a:lnTo>
                    <a:pt x="171" y="16"/>
                  </a:lnTo>
                  <a:lnTo>
                    <a:pt x="183" y="35"/>
                  </a:lnTo>
                  <a:lnTo>
                    <a:pt x="197" y="0"/>
                  </a:lnTo>
                  <a:lnTo>
                    <a:pt x="200" y="10"/>
                  </a:lnTo>
                  <a:lnTo>
                    <a:pt x="209" y="10"/>
                  </a:lnTo>
                  <a:lnTo>
                    <a:pt x="218" y="23"/>
                  </a:lnTo>
                  <a:lnTo>
                    <a:pt x="237" y="16"/>
                  </a:lnTo>
                  <a:lnTo>
                    <a:pt x="240" y="10"/>
                  </a:lnTo>
                  <a:lnTo>
                    <a:pt x="249" y="16"/>
                  </a:lnTo>
                  <a:lnTo>
                    <a:pt x="258" y="13"/>
                  </a:lnTo>
                  <a:lnTo>
                    <a:pt x="273" y="23"/>
                  </a:lnTo>
                  <a:lnTo>
                    <a:pt x="289" y="16"/>
                  </a:lnTo>
                  <a:lnTo>
                    <a:pt x="310" y="32"/>
                  </a:lnTo>
                  <a:lnTo>
                    <a:pt x="328" y="53"/>
                  </a:lnTo>
                  <a:lnTo>
                    <a:pt x="350" y="72"/>
                  </a:lnTo>
                  <a:lnTo>
                    <a:pt x="352" y="85"/>
                  </a:lnTo>
                  <a:lnTo>
                    <a:pt x="364" y="87"/>
                  </a:lnTo>
                  <a:lnTo>
                    <a:pt x="370" y="104"/>
                  </a:lnTo>
                  <a:lnTo>
                    <a:pt x="350" y="129"/>
                  </a:lnTo>
                  <a:lnTo>
                    <a:pt x="350" y="140"/>
                  </a:lnTo>
                  <a:lnTo>
                    <a:pt x="350" y="159"/>
                  </a:lnTo>
                  <a:lnTo>
                    <a:pt x="359" y="166"/>
                  </a:lnTo>
                  <a:lnTo>
                    <a:pt x="383" y="156"/>
                  </a:lnTo>
                  <a:lnTo>
                    <a:pt x="392" y="159"/>
                  </a:lnTo>
                  <a:lnTo>
                    <a:pt x="383" y="177"/>
                  </a:lnTo>
                  <a:lnTo>
                    <a:pt x="392" y="189"/>
                  </a:lnTo>
                  <a:lnTo>
                    <a:pt x="401" y="203"/>
                  </a:lnTo>
                  <a:lnTo>
                    <a:pt x="404" y="203"/>
                  </a:lnTo>
                  <a:lnTo>
                    <a:pt x="413" y="228"/>
                  </a:lnTo>
                  <a:lnTo>
                    <a:pt x="423" y="228"/>
                  </a:lnTo>
                  <a:lnTo>
                    <a:pt x="434" y="242"/>
                  </a:lnTo>
                  <a:lnTo>
                    <a:pt x="552" y="283"/>
                  </a:lnTo>
                  <a:lnTo>
                    <a:pt x="592" y="283"/>
                  </a:lnTo>
                  <a:lnTo>
                    <a:pt x="474" y="407"/>
                  </a:lnTo>
                  <a:lnTo>
                    <a:pt x="434" y="404"/>
                  </a:lnTo>
                  <a:lnTo>
                    <a:pt x="423" y="407"/>
                  </a:lnTo>
                  <a:lnTo>
                    <a:pt x="401" y="416"/>
                  </a:lnTo>
                  <a:lnTo>
                    <a:pt x="392" y="429"/>
                  </a:lnTo>
                  <a:lnTo>
                    <a:pt x="359" y="438"/>
                  </a:lnTo>
                  <a:lnTo>
                    <a:pt x="359" y="438"/>
                  </a:lnTo>
                  <a:lnTo>
                    <a:pt x="359" y="438"/>
                  </a:lnTo>
                  <a:lnTo>
                    <a:pt x="359" y="438"/>
                  </a:lnTo>
                  <a:lnTo>
                    <a:pt x="359" y="43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6" name="Freeform 22">
              <a:extLst>
                <a:ext uri="{FF2B5EF4-FFF2-40B4-BE49-F238E27FC236}">
                  <a16:creationId xmlns:a16="http://schemas.microsoft.com/office/drawing/2014/main" id="{558251A5-C215-43DD-A9A6-E6AF35659848}"/>
                </a:ext>
              </a:extLst>
            </p:cNvPr>
            <p:cNvSpPr>
              <a:spLocks/>
            </p:cNvSpPr>
            <p:nvPr/>
          </p:nvSpPr>
          <p:spPr bwMode="gray">
            <a:xfrm>
              <a:off x="5582753" y="4718762"/>
              <a:ext cx="114222" cy="31574"/>
            </a:xfrm>
            <a:custGeom>
              <a:avLst/>
              <a:gdLst>
                <a:gd name="T0" fmla="*/ 10 w 123"/>
                <a:gd name="T1" fmla="*/ 10 h 34"/>
                <a:gd name="T2" fmla="*/ 53 w 123"/>
                <a:gd name="T3" fmla="*/ 10 h 34"/>
                <a:gd name="T4" fmla="*/ 58 w 123"/>
                <a:gd name="T5" fmla="*/ 3 h 34"/>
                <a:gd name="T6" fmla="*/ 72 w 123"/>
                <a:gd name="T7" fmla="*/ 0 h 34"/>
                <a:gd name="T8" fmla="*/ 81 w 123"/>
                <a:gd name="T9" fmla="*/ 3 h 34"/>
                <a:gd name="T10" fmla="*/ 83 w 123"/>
                <a:gd name="T11" fmla="*/ 10 h 34"/>
                <a:gd name="T12" fmla="*/ 93 w 123"/>
                <a:gd name="T13" fmla="*/ 10 h 34"/>
                <a:gd name="T14" fmla="*/ 102 w 123"/>
                <a:gd name="T15" fmla="*/ 19 h 34"/>
                <a:gd name="T16" fmla="*/ 114 w 123"/>
                <a:gd name="T17" fmla="*/ 10 h 34"/>
                <a:gd name="T18" fmla="*/ 123 w 123"/>
                <a:gd name="T19" fmla="*/ 19 h 34"/>
                <a:gd name="T20" fmla="*/ 120 w 123"/>
                <a:gd name="T21" fmla="*/ 24 h 34"/>
                <a:gd name="T22" fmla="*/ 102 w 123"/>
                <a:gd name="T23" fmla="*/ 30 h 34"/>
                <a:gd name="T24" fmla="*/ 72 w 123"/>
                <a:gd name="T25" fmla="*/ 10 h 34"/>
                <a:gd name="T26" fmla="*/ 62 w 123"/>
                <a:gd name="T27" fmla="*/ 19 h 34"/>
                <a:gd name="T28" fmla="*/ 42 w 123"/>
                <a:gd name="T29" fmla="*/ 24 h 34"/>
                <a:gd name="T30" fmla="*/ 42 w 123"/>
                <a:gd name="T31" fmla="*/ 30 h 34"/>
                <a:gd name="T32" fmla="*/ 7 w 123"/>
                <a:gd name="T33" fmla="*/ 30 h 34"/>
                <a:gd name="T34" fmla="*/ 7 w 123"/>
                <a:gd name="T35" fmla="*/ 34 h 34"/>
                <a:gd name="T36" fmla="*/ 0 w 123"/>
                <a:gd name="T37" fmla="*/ 19 h 34"/>
                <a:gd name="T38" fmla="*/ 7 w 123"/>
                <a:gd name="T39" fmla="*/ 13 h 34"/>
                <a:gd name="T40" fmla="*/ 10 w 123"/>
                <a:gd name="T41" fmla="*/ 19 h 34"/>
                <a:gd name="T42" fmla="*/ 14 w 123"/>
                <a:gd name="T43" fmla="*/ 24 h 34"/>
                <a:gd name="T44" fmla="*/ 23 w 123"/>
                <a:gd name="T45" fmla="*/ 24 h 34"/>
                <a:gd name="T46" fmla="*/ 28 w 123"/>
                <a:gd name="T47" fmla="*/ 24 h 34"/>
                <a:gd name="T48" fmla="*/ 28 w 123"/>
                <a:gd name="T49" fmla="*/ 24 h 34"/>
                <a:gd name="T50" fmla="*/ 23 w 123"/>
                <a:gd name="T51" fmla="*/ 24 h 34"/>
                <a:gd name="T52" fmla="*/ 28 w 123"/>
                <a:gd name="T53" fmla="*/ 19 h 34"/>
                <a:gd name="T54" fmla="*/ 62 w 123"/>
                <a:gd name="T55" fmla="*/ 13 h 34"/>
                <a:gd name="T56" fmla="*/ 53 w 123"/>
                <a:gd name="T57" fmla="*/ 13 h 34"/>
                <a:gd name="T58" fmla="*/ 28 w 123"/>
                <a:gd name="T59" fmla="*/ 19 h 34"/>
                <a:gd name="T60" fmla="*/ 19 w 123"/>
                <a:gd name="T61" fmla="*/ 24 h 34"/>
                <a:gd name="T62" fmla="*/ 14 w 123"/>
                <a:gd name="T63" fmla="*/ 19 h 34"/>
                <a:gd name="T64" fmla="*/ 10 w 123"/>
                <a:gd name="T65" fmla="*/ 10 h 34"/>
                <a:gd name="T66" fmla="*/ 10 w 123"/>
                <a:gd name="T67" fmla="*/ 10 h 34"/>
                <a:gd name="T68" fmla="*/ 10 w 123"/>
                <a:gd name="T69" fmla="*/ 10 h 34"/>
                <a:gd name="T70" fmla="*/ 10 w 123"/>
                <a:gd name="T71" fmla="*/ 10 h 34"/>
                <a:gd name="T72" fmla="*/ 10 w 123"/>
                <a:gd name="T73" fmla="*/ 1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23" h="34">
                  <a:moveTo>
                    <a:pt x="10" y="10"/>
                  </a:moveTo>
                  <a:lnTo>
                    <a:pt x="53" y="10"/>
                  </a:lnTo>
                  <a:lnTo>
                    <a:pt x="58" y="3"/>
                  </a:lnTo>
                  <a:lnTo>
                    <a:pt x="72" y="0"/>
                  </a:lnTo>
                  <a:lnTo>
                    <a:pt x="81" y="3"/>
                  </a:lnTo>
                  <a:lnTo>
                    <a:pt x="83" y="10"/>
                  </a:lnTo>
                  <a:lnTo>
                    <a:pt x="93" y="10"/>
                  </a:lnTo>
                  <a:lnTo>
                    <a:pt x="102" y="19"/>
                  </a:lnTo>
                  <a:lnTo>
                    <a:pt x="114" y="10"/>
                  </a:lnTo>
                  <a:lnTo>
                    <a:pt x="123" y="19"/>
                  </a:lnTo>
                  <a:lnTo>
                    <a:pt x="120" y="24"/>
                  </a:lnTo>
                  <a:lnTo>
                    <a:pt x="102" y="30"/>
                  </a:lnTo>
                  <a:lnTo>
                    <a:pt x="72" y="10"/>
                  </a:lnTo>
                  <a:lnTo>
                    <a:pt x="62" y="19"/>
                  </a:lnTo>
                  <a:lnTo>
                    <a:pt x="42" y="24"/>
                  </a:lnTo>
                  <a:lnTo>
                    <a:pt x="42" y="30"/>
                  </a:lnTo>
                  <a:lnTo>
                    <a:pt x="7" y="30"/>
                  </a:lnTo>
                  <a:lnTo>
                    <a:pt x="7" y="34"/>
                  </a:lnTo>
                  <a:lnTo>
                    <a:pt x="0" y="19"/>
                  </a:lnTo>
                  <a:lnTo>
                    <a:pt x="7" y="13"/>
                  </a:lnTo>
                  <a:lnTo>
                    <a:pt x="10" y="19"/>
                  </a:lnTo>
                  <a:lnTo>
                    <a:pt x="14" y="24"/>
                  </a:lnTo>
                  <a:lnTo>
                    <a:pt x="23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3" y="24"/>
                  </a:lnTo>
                  <a:lnTo>
                    <a:pt x="28" y="19"/>
                  </a:lnTo>
                  <a:lnTo>
                    <a:pt x="62" y="13"/>
                  </a:lnTo>
                  <a:lnTo>
                    <a:pt x="53" y="13"/>
                  </a:lnTo>
                  <a:lnTo>
                    <a:pt x="28" y="19"/>
                  </a:lnTo>
                  <a:lnTo>
                    <a:pt x="19" y="24"/>
                  </a:lnTo>
                  <a:lnTo>
                    <a:pt x="14" y="19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7" name="Freeform 23">
              <a:extLst>
                <a:ext uri="{FF2B5EF4-FFF2-40B4-BE49-F238E27FC236}">
                  <a16:creationId xmlns:a16="http://schemas.microsoft.com/office/drawing/2014/main" id="{F01918E6-F893-456E-9425-358E245E5B5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517889" y="5154292"/>
              <a:ext cx="210800" cy="234944"/>
            </a:xfrm>
            <a:custGeom>
              <a:avLst/>
              <a:gdLst>
                <a:gd name="T0" fmla="*/ 202 w 227"/>
                <a:gd name="T1" fmla="*/ 103 h 253"/>
                <a:gd name="T2" fmla="*/ 214 w 227"/>
                <a:gd name="T3" fmla="*/ 112 h 253"/>
                <a:gd name="T4" fmla="*/ 227 w 227"/>
                <a:gd name="T5" fmla="*/ 119 h 253"/>
                <a:gd name="T6" fmla="*/ 227 w 227"/>
                <a:gd name="T7" fmla="*/ 144 h 253"/>
                <a:gd name="T8" fmla="*/ 218 w 227"/>
                <a:gd name="T9" fmla="*/ 175 h 253"/>
                <a:gd name="T10" fmla="*/ 202 w 227"/>
                <a:gd name="T11" fmla="*/ 193 h 253"/>
                <a:gd name="T12" fmla="*/ 187 w 227"/>
                <a:gd name="T13" fmla="*/ 193 h 253"/>
                <a:gd name="T14" fmla="*/ 163 w 227"/>
                <a:gd name="T15" fmla="*/ 172 h 253"/>
                <a:gd name="T16" fmla="*/ 151 w 227"/>
                <a:gd name="T17" fmla="*/ 172 h 253"/>
                <a:gd name="T18" fmla="*/ 145 w 227"/>
                <a:gd name="T19" fmla="*/ 191 h 253"/>
                <a:gd name="T20" fmla="*/ 126 w 227"/>
                <a:gd name="T21" fmla="*/ 191 h 253"/>
                <a:gd name="T22" fmla="*/ 112 w 227"/>
                <a:gd name="T23" fmla="*/ 191 h 253"/>
                <a:gd name="T24" fmla="*/ 112 w 227"/>
                <a:gd name="T25" fmla="*/ 212 h 253"/>
                <a:gd name="T26" fmla="*/ 121 w 227"/>
                <a:gd name="T27" fmla="*/ 216 h 253"/>
                <a:gd name="T28" fmla="*/ 126 w 227"/>
                <a:gd name="T29" fmla="*/ 228 h 253"/>
                <a:gd name="T30" fmla="*/ 123 w 227"/>
                <a:gd name="T31" fmla="*/ 244 h 253"/>
                <a:gd name="T32" fmla="*/ 112 w 227"/>
                <a:gd name="T33" fmla="*/ 237 h 253"/>
                <a:gd name="T34" fmla="*/ 93 w 227"/>
                <a:gd name="T35" fmla="*/ 253 h 253"/>
                <a:gd name="T36" fmla="*/ 36 w 227"/>
                <a:gd name="T37" fmla="*/ 193 h 253"/>
                <a:gd name="T38" fmla="*/ 54 w 227"/>
                <a:gd name="T39" fmla="*/ 198 h 253"/>
                <a:gd name="T40" fmla="*/ 50 w 227"/>
                <a:gd name="T41" fmla="*/ 198 h 253"/>
                <a:gd name="T42" fmla="*/ 42 w 227"/>
                <a:gd name="T43" fmla="*/ 193 h 253"/>
                <a:gd name="T44" fmla="*/ 24 w 227"/>
                <a:gd name="T45" fmla="*/ 172 h 253"/>
                <a:gd name="T46" fmla="*/ 33 w 227"/>
                <a:gd name="T47" fmla="*/ 175 h 253"/>
                <a:gd name="T48" fmla="*/ 21 w 227"/>
                <a:gd name="T49" fmla="*/ 166 h 253"/>
                <a:gd name="T50" fmla="*/ 12 w 227"/>
                <a:gd name="T51" fmla="*/ 144 h 253"/>
                <a:gd name="T52" fmla="*/ 31 w 227"/>
                <a:gd name="T53" fmla="*/ 163 h 253"/>
                <a:gd name="T54" fmla="*/ 31 w 227"/>
                <a:gd name="T55" fmla="*/ 154 h 253"/>
                <a:gd name="T56" fmla="*/ 24 w 227"/>
                <a:gd name="T57" fmla="*/ 144 h 253"/>
                <a:gd name="T58" fmla="*/ 12 w 227"/>
                <a:gd name="T59" fmla="*/ 144 h 253"/>
                <a:gd name="T60" fmla="*/ 0 w 227"/>
                <a:gd name="T61" fmla="*/ 119 h 253"/>
                <a:gd name="T62" fmla="*/ 24 w 227"/>
                <a:gd name="T63" fmla="*/ 110 h 253"/>
                <a:gd name="T64" fmla="*/ 31 w 227"/>
                <a:gd name="T65" fmla="*/ 87 h 253"/>
                <a:gd name="T66" fmla="*/ 45 w 227"/>
                <a:gd name="T67" fmla="*/ 87 h 253"/>
                <a:gd name="T68" fmla="*/ 24 w 227"/>
                <a:gd name="T69" fmla="*/ 71 h 253"/>
                <a:gd name="T70" fmla="*/ 33 w 227"/>
                <a:gd name="T71" fmla="*/ 66 h 253"/>
                <a:gd name="T72" fmla="*/ 33 w 227"/>
                <a:gd name="T73" fmla="*/ 57 h 253"/>
                <a:gd name="T74" fmla="*/ 42 w 227"/>
                <a:gd name="T75" fmla="*/ 57 h 253"/>
                <a:gd name="T76" fmla="*/ 50 w 227"/>
                <a:gd name="T77" fmla="*/ 57 h 253"/>
                <a:gd name="T78" fmla="*/ 103 w 227"/>
                <a:gd name="T79" fmla="*/ 6 h 253"/>
                <a:gd name="T80" fmla="*/ 142 w 227"/>
                <a:gd name="T81" fmla="*/ 0 h 253"/>
                <a:gd name="T82" fmla="*/ 175 w 227"/>
                <a:gd name="T83" fmla="*/ 0 h 253"/>
                <a:gd name="T84" fmla="*/ 173 w 227"/>
                <a:gd name="T85" fmla="*/ 25 h 253"/>
                <a:gd name="T86" fmla="*/ 175 w 227"/>
                <a:gd name="T87" fmla="*/ 48 h 253"/>
                <a:gd name="T88" fmla="*/ 214 w 227"/>
                <a:gd name="T89" fmla="*/ 38 h 253"/>
                <a:gd name="T90" fmla="*/ 218 w 227"/>
                <a:gd name="T91" fmla="*/ 69 h 253"/>
                <a:gd name="T92" fmla="*/ 206 w 227"/>
                <a:gd name="T93" fmla="*/ 82 h 253"/>
                <a:gd name="T94" fmla="*/ 202 w 227"/>
                <a:gd name="T95" fmla="*/ 101 h 253"/>
                <a:gd name="T96" fmla="*/ 202 w 227"/>
                <a:gd name="T97" fmla="*/ 101 h 253"/>
                <a:gd name="T98" fmla="*/ 12 w 227"/>
                <a:gd name="T99" fmla="*/ 129 h 253"/>
                <a:gd name="T100" fmla="*/ 12 w 227"/>
                <a:gd name="T101" fmla="*/ 119 h 253"/>
                <a:gd name="T102" fmla="*/ 12 w 227"/>
                <a:gd name="T103" fmla="*/ 129 h 253"/>
                <a:gd name="T104" fmla="*/ 12 w 227"/>
                <a:gd name="T105" fmla="*/ 129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7" h="253">
                  <a:moveTo>
                    <a:pt x="202" y="101"/>
                  </a:moveTo>
                  <a:lnTo>
                    <a:pt x="202" y="103"/>
                  </a:lnTo>
                  <a:lnTo>
                    <a:pt x="211" y="103"/>
                  </a:lnTo>
                  <a:lnTo>
                    <a:pt x="214" y="112"/>
                  </a:lnTo>
                  <a:lnTo>
                    <a:pt x="223" y="112"/>
                  </a:lnTo>
                  <a:lnTo>
                    <a:pt x="227" y="119"/>
                  </a:lnTo>
                  <a:lnTo>
                    <a:pt x="223" y="135"/>
                  </a:lnTo>
                  <a:lnTo>
                    <a:pt x="227" y="144"/>
                  </a:lnTo>
                  <a:lnTo>
                    <a:pt x="223" y="172"/>
                  </a:lnTo>
                  <a:lnTo>
                    <a:pt x="218" y="175"/>
                  </a:lnTo>
                  <a:lnTo>
                    <a:pt x="211" y="193"/>
                  </a:lnTo>
                  <a:lnTo>
                    <a:pt x="202" y="193"/>
                  </a:lnTo>
                  <a:lnTo>
                    <a:pt x="196" y="181"/>
                  </a:lnTo>
                  <a:lnTo>
                    <a:pt x="187" y="193"/>
                  </a:lnTo>
                  <a:lnTo>
                    <a:pt x="166" y="191"/>
                  </a:lnTo>
                  <a:lnTo>
                    <a:pt x="163" y="172"/>
                  </a:lnTo>
                  <a:lnTo>
                    <a:pt x="154" y="166"/>
                  </a:lnTo>
                  <a:lnTo>
                    <a:pt x="151" y="172"/>
                  </a:lnTo>
                  <a:lnTo>
                    <a:pt x="145" y="172"/>
                  </a:lnTo>
                  <a:lnTo>
                    <a:pt x="145" y="191"/>
                  </a:lnTo>
                  <a:lnTo>
                    <a:pt x="133" y="193"/>
                  </a:lnTo>
                  <a:lnTo>
                    <a:pt x="126" y="191"/>
                  </a:lnTo>
                  <a:lnTo>
                    <a:pt x="121" y="193"/>
                  </a:lnTo>
                  <a:lnTo>
                    <a:pt x="112" y="191"/>
                  </a:lnTo>
                  <a:lnTo>
                    <a:pt x="114" y="198"/>
                  </a:lnTo>
                  <a:lnTo>
                    <a:pt x="112" y="212"/>
                  </a:lnTo>
                  <a:lnTo>
                    <a:pt x="114" y="207"/>
                  </a:lnTo>
                  <a:lnTo>
                    <a:pt x="121" y="216"/>
                  </a:lnTo>
                  <a:lnTo>
                    <a:pt x="114" y="225"/>
                  </a:lnTo>
                  <a:lnTo>
                    <a:pt x="126" y="228"/>
                  </a:lnTo>
                  <a:lnTo>
                    <a:pt x="123" y="237"/>
                  </a:lnTo>
                  <a:lnTo>
                    <a:pt x="123" y="244"/>
                  </a:lnTo>
                  <a:lnTo>
                    <a:pt x="121" y="244"/>
                  </a:lnTo>
                  <a:lnTo>
                    <a:pt x="112" y="237"/>
                  </a:lnTo>
                  <a:lnTo>
                    <a:pt x="97" y="244"/>
                  </a:lnTo>
                  <a:lnTo>
                    <a:pt x="93" y="253"/>
                  </a:lnTo>
                  <a:lnTo>
                    <a:pt x="67" y="221"/>
                  </a:lnTo>
                  <a:lnTo>
                    <a:pt x="36" y="193"/>
                  </a:lnTo>
                  <a:lnTo>
                    <a:pt x="50" y="203"/>
                  </a:lnTo>
                  <a:lnTo>
                    <a:pt x="54" y="198"/>
                  </a:lnTo>
                  <a:lnTo>
                    <a:pt x="54" y="198"/>
                  </a:lnTo>
                  <a:lnTo>
                    <a:pt x="50" y="198"/>
                  </a:lnTo>
                  <a:lnTo>
                    <a:pt x="45" y="193"/>
                  </a:lnTo>
                  <a:lnTo>
                    <a:pt x="42" y="193"/>
                  </a:lnTo>
                  <a:lnTo>
                    <a:pt x="33" y="191"/>
                  </a:lnTo>
                  <a:lnTo>
                    <a:pt x="24" y="172"/>
                  </a:lnTo>
                  <a:lnTo>
                    <a:pt x="31" y="172"/>
                  </a:lnTo>
                  <a:lnTo>
                    <a:pt x="33" y="175"/>
                  </a:lnTo>
                  <a:lnTo>
                    <a:pt x="31" y="172"/>
                  </a:lnTo>
                  <a:lnTo>
                    <a:pt x="21" y="166"/>
                  </a:lnTo>
                  <a:lnTo>
                    <a:pt x="21" y="159"/>
                  </a:lnTo>
                  <a:lnTo>
                    <a:pt x="12" y="144"/>
                  </a:lnTo>
                  <a:lnTo>
                    <a:pt x="21" y="163"/>
                  </a:lnTo>
                  <a:lnTo>
                    <a:pt x="31" y="163"/>
                  </a:lnTo>
                  <a:lnTo>
                    <a:pt x="31" y="159"/>
                  </a:lnTo>
                  <a:lnTo>
                    <a:pt x="31" y="154"/>
                  </a:lnTo>
                  <a:lnTo>
                    <a:pt x="21" y="159"/>
                  </a:lnTo>
                  <a:lnTo>
                    <a:pt x="24" y="144"/>
                  </a:lnTo>
                  <a:lnTo>
                    <a:pt x="21" y="149"/>
                  </a:lnTo>
                  <a:lnTo>
                    <a:pt x="12" y="144"/>
                  </a:lnTo>
                  <a:lnTo>
                    <a:pt x="0" y="119"/>
                  </a:lnTo>
                  <a:lnTo>
                    <a:pt x="0" y="119"/>
                  </a:lnTo>
                  <a:lnTo>
                    <a:pt x="12" y="129"/>
                  </a:lnTo>
                  <a:lnTo>
                    <a:pt x="24" y="110"/>
                  </a:lnTo>
                  <a:lnTo>
                    <a:pt x="24" y="78"/>
                  </a:lnTo>
                  <a:lnTo>
                    <a:pt x="31" y="87"/>
                  </a:lnTo>
                  <a:lnTo>
                    <a:pt x="42" y="92"/>
                  </a:lnTo>
                  <a:lnTo>
                    <a:pt x="45" y="87"/>
                  </a:lnTo>
                  <a:lnTo>
                    <a:pt x="31" y="82"/>
                  </a:lnTo>
                  <a:lnTo>
                    <a:pt x="24" y="71"/>
                  </a:lnTo>
                  <a:lnTo>
                    <a:pt x="24" y="69"/>
                  </a:lnTo>
                  <a:lnTo>
                    <a:pt x="33" y="66"/>
                  </a:lnTo>
                  <a:lnTo>
                    <a:pt x="33" y="71"/>
                  </a:lnTo>
                  <a:lnTo>
                    <a:pt x="33" y="57"/>
                  </a:lnTo>
                  <a:lnTo>
                    <a:pt x="36" y="50"/>
                  </a:lnTo>
                  <a:lnTo>
                    <a:pt x="42" y="57"/>
                  </a:lnTo>
                  <a:lnTo>
                    <a:pt x="45" y="57"/>
                  </a:lnTo>
                  <a:lnTo>
                    <a:pt x="50" y="57"/>
                  </a:lnTo>
                  <a:lnTo>
                    <a:pt x="103" y="57"/>
                  </a:lnTo>
                  <a:lnTo>
                    <a:pt x="103" y="6"/>
                  </a:lnTo>
                  <a:lnTo>
                    <a:pt x="103" y="0"/>
                  </a:lnTo>
                  <a:lnTo>
                    <a:pt x="142" y="0"/>
                  </a:lnTo>
                  <a:lnTo>
                    <a:pt x="156" y="0"/>
                  </a:lnTo>
                  <a:lnTo>
                    <a:pt x="175" y="0"/>
                  </a:lnTo>
                  <a:lnTo>
                    <a:pt x="181" y="6"/>
                  </a:lnTo>
                  <a:lnTo>
                    <a:pt x="173" y="25"/>
                  </a:lnTo>
                  <a:lnTo>
                    <a:pt x="175" y="38"/>
                  </a:lnTo>
                  <a:lnTo>
                    <a:pt x="175" y="48"/>
                  </a:lnTo>
                  <a:lnTo>
                    <a:pt x="196" y="38"/>
                  </a:lnTo>
                  <a:lnTo>
                    <a:pt x="214" y="38"/>
                  </a:lnTo>
                  <a:lnTo>
                    <a:pt x="227" y="57"/>
                  </a:lnTo>
                  <a:lnTo>
                    <a:pt x="218" y="69"/>
                  </a:lnTo>
                  <a:lnTo>
                    <a:pt x="211" y="71"/>
                  </a:lnTo>
                  <a:lnTo>
                    <a:pt x="206" y="82"/>
                  </a:lnTo>
                  <a:lnTo>
                    <a:pt x="202" y="101"/>
                  </a:lnTo>
                  <a:lnTo>
                    <a:pt x="202" y="101"/>
                  </a:lnTo>
                  <a:lnTo>
                    <a:pt x="202" y="101"/>
                  </a:lnTo>
                  <a:lnTo>
                    <a:pt x="202" y="101"/>
                  </a:lnTo>
                  <a:lnTo>
                    <a:pt x="202" y="101"/>
                  </a:lnTo>
                  <a:close/>
                  <a:moveTo>
                    <a:pt x="12" y="129"/>
                  </a:moveTo>
                  <a:lnTo>
                    <a:pt x="5" y="122"/>
                  </a:lnTo>
                  <a:lnTo>
                    <a:pt x="12" y="119"/>
                  </a:lnTo>
                  <a:lnTo>
                    <a:pt x="12" y="129"/>
                  </a:lnTo>
                  <a:lnTo>
                    <a:pt x="12" y="129"/>
                  </a:lnTo>
                  <a:lnTo>
                    <a:pt x="12" y="129"/>
                  </a:lnTo>
                  <a:lnTo>
                    <a:pt x="12" y="129"/>
                  </a:lnTo>
                  <a:lnTo>
                    <a:pt x="12" y="129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8" name="Freeform 24">
              <a:extLst>
                <a:ext uri="{FF2B5EF4-FFF2-40B4-BE49-F238E27FC236}">
                  <a16:creationId xmlns:a16="http://schemas.microsoft.com/office/drawing/2014/main" id="{96721D07-C42C-476A-A548-E7D4C78EF22E}"/>
                </a:ext>
              </a:extLst>
            </p:cNvPr>
            <p:cNvSpPr>
              <a:spLocks/>
            </p:cNvSpPr>
            <p:nvPr/>
          </p:nvSpPr>
          <p:spPr bwMode="gray">
            <a:xfrm>
              <a:off x="6079573" y="4822769"/>
              <a:ext cx="162511" cy="242373"/>
            </a:xfrm>
            <a:custGeom>
              <a:avLst/>
              <a:gdLst>
                <a:gd name="T0" fmla="*/ 9 w 175"/>
                <a:gd name="T1" fmla="*/ 241 h 261"/>
                <a:gd name="T2" fmla="*/ 9 w 175"/>
                <a:gd name="T3" fmla="*/ 241 h 261"/>
                <a:gd name="T4" fmla="*/ 12 w 175"/>
                <a:gd name="T5" fmla="*/ 241 h 261"/>
                <a:gd name="T6" fmla="*/ 21 w 175"/>
                <a:gd name="T7" fmla="*/ 241 h 261"/>
                <a:gd name="T8" fmla="*/ 21 w 175"/>
                <a:gd name="T9" fmla="*/ 227 h 261"/>
                <a:gd name="T10" fmla="*/ 12 w 175"/>
                <a:gd name="T11" fmla="*/ 220 h 261"/>
                <a:gd name="T12" fmla="*/ 0 w 175"/>
                <a:gd name="T13" fmla="*/ 179 h 261"/>
                <a:gd name="T14" fmla="*/ 2 w 175"/>
                <a:gd name="T15" fmla="*/ 176 h 261"/>
                <a:gd name="T16" fmla="*/ 12 w 175"/>
                <a:gd name="T17" fmla="*/ 165 h 261"/>
                <a:gd name="T18" fmla="*/ 21 w 175"/>
                <a:gd name="T19" fmla="*/ 127 h 261"/>
                <a:gd name="T20" fmla="*/ 30 w 175"/>
                <a:gd name="T21" fmla="*/ 117 h 261"/>
                <a:gd name="T22" fmla="*/ 24 w 175"/>
                <a:gd name="T23" fmla="*/ 87 h 261"/>
                <a:gd name="T24" fmla="*/ 21 w 175"/>
                <a:gd name="T25" fmla="*/ 83 h 261"/>
                <a:gd name="T26" fmla="*/ 24 w 175"/>
                <a:gd name="T27" fmla="*/ 65 h 261"/>
                <a:gd name="T28" fmla="*/ 21 w 175"/>
                <a:gd name="T29" fmla="*/ 62 h 261"/>
                <a:gd name="T30" fmla="*/ 21 w 175"/>
                <a:gd name="T31" fmla="*/ 34 h 261"/>
                <a:gd name="T32" fmla="*/ 12 w 175"/>
                <a:gd name="T33" fmla="*/ 14 h 261"/>
                <a:gd name="T34" fmla="*/ 17 w 175"/>
                <a:gd name="T35" fmla="*/ 3 h 261"/>
                <a:gd name="T36" fmla="*/ 90 w 175"/>
                <a:gd name="T37" fmla="*/ 3 h 261"/>
                <a:gd name="T38" fmla="*/ 102 w 175"/>
                <a:gd name="T39" fmla="*/ 3 h 261"/>
                <a:gd name="T40" fmla="*/ 102 w 175"/>
                <a:gd name="T41" fmla="*/ 9 h 261"/>
                <a:gd name="T42" fmla="*/ 115 w 175"/>
                <a:gd name="T43" fmla="*/ 0 h 261"/>
                <a:gd name="T44" fmla="*/ 123 w 175"/>
                <a:gd name="T45" fmla="*/ 0 h 261"/>
                <a:gd name="T46" fmla="*/ 130 w 175"/>
                <a:gd name="T47" fmla="*/ 3 h 261"/>
                <a:gd name="T48" fmla="*/ 123 w 175"/>
                <a:gd name="T49" fmla="*/ 14 h 261"/>
                <a:gd name="T50" fmla="*/ 141 w 175"/>
                <a:gd name="T51" fmla="*/ 30 h 261"/>
                <a:gd name="T52" fmla="*/ 141 w 175"/>
                <a:gd name="T53" fmla="*/ 34 h 261"/>
                <a:gd name="T54" fmla="*/ 144 w 175"/>
                <a:gd name="T55" fmla="*/ 44 h 261"/>
                <a:gd name="T56" fmla="*/ 139 w 175"/>
                <a:gd name="T57" fmla="*/ 65 h 261"/>
                <a:gd name="T58" fmla="*/ 144 w 175"/>
                <a:gd name="T59" fmla="*/ 65 h 261"/>
                <a:gd name="T60" fmla="*/ 151 w 175"/>
                <a:gd name="T61" fmla="*/ 71 h 261"/>
                <a:gd name="T62" fmla="*/ 144 w 175"/>
                <a:gd name="T63" fmla="*/ 83 h 261"/>
                <a:gd name="T64" fmla="*/ 151 w 175"/>
                <a:gd name="T65" fmla="*/ 92 h 261"/>
                <a:gd name="T66" fmla="*/ 141 w 175"/>
                <a:gd name="T67" fmla="*/ 96 h 261"/>
                <a:gd name="T68" fmla="*/ 160 w 175"/>
                <a:gd name="T69" fmla="*/ 114 h 261"/>
                <a:gd name="T70" fmla="*/ 154 w 175"/>
                <a:gd name="T71" fmla="*/ 117 h 261"/>
                <a:gd name="T72" fmla="*/ 151 w 175"/>
                <a:gd name="T73" fmla="*/ 136 h 261"/>
                <a:gd name="T74" fmla="*/ 151 w 175"/>
                <a:gd name="T75" fmla="*/ 145 h 261"/>
                <a:gd name="T76" fmla="*/ 151 w 175"/>
                <a:gd name="T77" fmla="*/ 149 h 261"/>
                <a:gd name="T78" fmla="*/ 154 w 175"/>
                <a:gd name="T79" fmla="*/ 154 h 261"/>
                <a:gd name="T80" fmla="*/ 154 w 175"/>
                <a:gd name="T81" fmla="*/ 167 h 261"/>
                <a:gd name="T82" fmla="*/ 151 w 175"/>
                <a:gd name="T83" fmla="*/ 167 h 261"/>
                <a:gd name="T84" fmla="*/ 160 w 175"/>
                <a:gd name="T85" fmla="*/ 189 h 261"/>
                <a:gd name="T86" fmla="*/ 169 w 175"/>
                <a:gd name="T87" fmla="*/ 195 h 261"/>
                <a:gd name="T88" fmla="*/ 175 w 175"/>
                <a:gd name="T89" fmla="*/ 202 h 261"/>
                <a:gd name="T90" fmla="*/ 169 w 175"/>
                <a:gd name="T91" fmla="*/ 218 h 261"/>
                <a:gd name="T92" fmla="*/ 154 w 175"/>
                <a:gd name="T93" fmla="*/ 218 h 261"/>
                <a:gd name="T94" fmla="*/ 151 w 175"/>
                <a:gd name="T95" fmla="*/ 208 h 261"/>
                <a:gd name="T96" fmla="*/ 139 w 175"/>
                <a:gd name="T97" fmla="*/ 202 h 261"/>
                <a:gd name="T98" fmla="*/ 151 w 175"/>
                <a:gd name="T99" fmla="*/ 208 h 261"/>
                <a:gd name="T100" fmla="*/ 154 w 175"/>
                <a:gd name="T101" fmla="*/ 218 h 261"/>
                <a:gd name="T102" fmla="*/ 139 w 175"/>
                <a:gd name="T103" fmla="*/ 218 h 261"/>
                <a:gd name="T104" fmla="*/ 99 w 175"/>
                <a:gd name="T105" fmla="*/ 238 h 261"/>
                <a:gd name="T106" fmla="*/ 63 w 175"/>
                <a:gd name="T107" fmla="*/ 248 h 261"/>
                <a:gd name="T108" fmla="*/ 48 w 175"/>
                <a:gd name="T109" fmla="*/ 261 h 261"/>
                <a:gd name="T110" fmla="*/ 38 w 175"/>
                <a:gd name="T111" fmla="*/ 252 h 261"/>
                <a:gd name="T112" fmla="*/ 9 w 175"/>
                <a:gd name="T113" fmla="*/ 241 h 261"/>
                <a:gd name="T114" fmla="*/ 9 w 175"/>
                <a:gd name="T115" fmla="*/ 241 h 261"/>
                <a:gd name="T116" fmla="*/ 9 w 175"/>
                <a:gd name="T117" fmla="*/ 241 h 261"/>
                <a:gd name="T118" fmla="*/ 9 w 175"/>
                <a:gd name="T119" fmla="*/ 241 h 261"/>
                <a:gd name="T120" fmla="*/ 9 w 175"/>
                <a:gd name="T121" fmla="*/ 241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5" h="261">
                  <a:moveTo>
                    <a:pt x="9" y="241"/>
                  </a:moveTo>
                  <a:lnTo>
                    <a:pt x="9" y="241"/>
                  </a:lnTo>
                  <a:lnTo>
                    <a:pt x="12" y="241"/>
                  </a:lnTo>
                  <a:lnTo>
                    <a:pt x="21" y="241"/>
                  </a:lnTo>
                  <a:lnTo>
                    <a:pt x="21" y="227"/>
                  </a:lnTo>
                  <a:lnTo>
                    <a:pt x="12" y="220"/>
                  </a:lnTo>
                  <a:lnTo>
                    <a:pt x="0" y="179"/>
                  </a:lnTo>
                  <a:lnTo>
                    <a:pt x="2" y="176"/>
                  </a:lnTo>
                  <a:lnTo>
                    <a:pt x="12" y="165"/>
                  </a:lnTo>
                  <a:lnTo>
                    <a:pt x="21" y="127"/>
                  </a:lnTo>
                  <a:lnTo>
                    <a:pt x="30" y="117"/>
                  </a:lnTo>
                  <a:lnTo>
                    <a:pt x="24" y="87"/>
                  </a:lnTo>
                  <a:lnTo>
                    <a:pt x="21" y="83"/>
                  </a:lnTo>
                  <a:lnTo>
                    <a:pt x="24" y="65"/>
                  </a:lnTo>
                  <a:lnTo>
                    <a:pt x="21" y="62"/>
                  </a:lnTo>
                  <a:lnTo>
                    <a:pt x="21" y="34"/>
                  </a:lnTo>
                  <a:lnTo>
                    <a:pt x="12" y="14"/>
                  </a:lnTo>
                  <a:lnTo>
                    <a:pt x="17" y="3"/>
                  </a:lnTo>
                  <a:lnTo>
                    <a:pt x="90" y="3"/>
                  </a:lnTo>
                  <a:lnTo>
                    <a:pt x="102" y="3"/>
                  </a:lnTo>
                  <a:lnTo>
                    <a:pt x="102" y="9"/>
                  </a:lnTo>
                  <a:lnTo>
                    <a:pt x="115" y="0"/>
                  </a:lnTo>
                  <a:lnTo>
                    <a:pt x="123" y="0"/>
                  </a:lnTo>
                  <a:lnTo>
                    <a:pt x="130" y="3"/>
                  </a:lnTo>
                  <a:lnTo>
                    <a:pt x="123" y="14"/>
                  </a:lnTo>
                  <a:lnTo>
                    <a:pt x="141" y="30"/>
                  </a:lnTo>
                  <a:lnTo>
                    <a:pt x="141" y="34"/>
                  </a:lnTo>
                  <a:lnTo>
                    <a:pt x="144" y="44"/>
                  </a:lnTo>
                  <a:lnTo>
                    <a:pt x="139" y="65"/>
                  </a:lnTo>
                  <a:lnTo>
                    <a:pt x="144" y="65"/>
                  </a:lnTo>
                  <a:lnTo>
                    <a:pt x="151" y="71"/>
                  </a:lnTo>
                  <a:lnTo>
                    <a:pt x="144" y="83"/>
                  </a:lnTo>
                  <a:lnTo>
                    <a:pt x="151" y="92"/>
                  </a:lnTo>
                  <a:lnTo>
                    <a:pt x="141" y="96"/>
                  </a:lnTo>
                  <a:lnTo>
                    <a:pt x="160" y="114"/>
                  </a:lnTo>
                  <a:lnTo>
                    <a:pt x="154" y="117"/>
                  </a:lnTo>
                  <a:lnTo>
                    <a:pt x="151" y="136"/>
                  </a:lnTo>
                  <a:lnTo>
                    <a:pt x="151" y="145"/>
                  </a:lnTo>
                  <a:lnTo>
                    <a:pt x="151" y="149"/>
                  </a:lnTo>
                  <a:lnTo>
                    <a:pt x="154" y="154"/>
                  </a:lnTo>
                  <a:lnTo>
                    <a:pt x="154" y="167"/>
                  </a:lnTo>
                  <a:lnTo>
                    <a:pt x="151" y="167"/>
                  </a:lnTo>
                  <a:lnTo>
                    <a:pt x="160" y="189"/>
                  </a:lnTo>
                  <a:lnTo>
                    <a:pt x="169" y="195"/>
                  </a:lnTo>
                  <a:lnTo>
                    <a:pt x="175" y="202"/>
                  </a:lnTo>
                  <a:lnTo>
                    <a:pt x="169" y="218"/>
                  </a:lnTo>
                  <a:lnTo>
                    <a:pt x="154" y="218"/>
                  </a:lnTo>
                  <a:lnTo>
                    <a:pt x="151" y="208"/>
                  </a:lnTo>
                  <a:lnTo>
                    <a:pt x="139" y="202"/>
                  </a:lnTo>
                  <a:lnTo>
                    <a:pt x="151" y="208"/>
                  </a:lnTo>
                  <a:lnTo>
                    <a:pt x="154" y="218"/>
                  </a:lnTo>
                  <a:lnTo>
                    <a:pt x="139" y="218"/>
                  </a:lnTo>
                  <a:lnTo>
                    <a:pt x="99" y="238"/>
                  </a:lnTo>
                  <a:lnTo>
                    <a:pt x="63" y="248"/>
                  </a:lnTo>
                  <a:lnTo>
                    <a:pt x="48" y="261"/>
                  </a:lnTo>
                  <a:lnTo>
                    <a:pt x="38" y="252"/>
                  </a:lnTo>
                  <a:lnTo>
                    <a:pt x="9" y="241"/>
                  </a:lnTo>
                  <a:lnTo>
                    <a:pt x="9" y="241"/>
                  </a:lnTo>
                  <a:lnTo>
                    <a:pt x="9" y="241"/>
                  </a:lnTo>
                  <a:lnTo>
                    <a:pt x="9" y="241"/>
                  </a:lnTo>
                  <a:lnTo>
                    <a:pt x="9" y="24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39" name="Freeform 25">
              <a:extLst>
                <a:ext uri="{FF2B5EF4-FFF2-40B4-BE49-F238E27FC236}">
                  <a16:creationId xmlns:a16="http://schemas.microsoft.com/office/drawing/2014/main" id="{902B075F-F3FB-424F-AC68-29DE1FCA9E93}"/>
                </a:ext>
              </a:extLst>
            </p:cNvPr>
            <p:cNvSpPr>
              <a:spLocks/>
            </p:cNvSpPr>
            <p:nvPr/>
          </p:nvSpPr>
          <p:spPr bwMode="gray">
            <a:xfrm>
              <a:off x="5648687" y="4767051"/>
              <a:ext cx="271161" cy="200585"/>
            </a:xfrm>
            <a:custGeom>
              <a:avLst/>
              <a:gdLst>
                <a:gd name="T0" fmla="*/ 12 w 292"/>
                <a:gd name="T1" fmla="*/ 46 h 216"/>
                <a:gd name="T2" fmla="*/ 30 w 292"/>
                <a:gd name="T3" fmla="*/ 39 h 216"/>
                <a:gd name="T4" fmla="*/ 52 w 292"/>
                <a:gd name="T5" fmla="*/ 39 h 216"/>
                <a:gd name="T6" fmla="*/ 42 w 292"/>
                <a:gd name="T7" fmla="*/ 21 h 216"/>
                <a:gd name="T8" fmla="*/ 52 w 292"/>
                <a:gd name="T9" fmla="*/ 0 h 216"/>
                <a:gd name="T10" fmla="*/ 79 w 292"/>
                <a:gd name="T11" fmla="*/ 9 h 216"/>
                <a:gd name="T12" fmla="*/ 110 w 292"/>
                <a:gd name="T13" fmla="*/ 12 h 216"/>
                <a:gd name="T14" fmla="*/ 148 w 292"/>
                <a:gd name="T15" fmla="*/ 9 h 216"/>
                <a:gd name="T16" fmla="*/ 152 w 292"/>
                <a:gd name="T17" fmla="*/ 25 h 216"/>
                <a:gd name="T18" fmla="*/ 174 w 292"/>
                <a:gd name="T19" fmla="*/ 30 h 216"/>
                <a:gd name="T20" fmla="*/ 204 w 292"/>
                <a:gd name="T21" fmla="*/ 25 h 216"/>
                <a:gd name="T22" fmla="*/ 213 w 292"/>
                <a:gd name="T23" fmla="*/ 21 h 216"/>
                <a:gd name="T24" fmla="*/ 226 w 292"/>
                <a:gd name="T25" fmla="*/ 9 h 216"/>
                <a:gd name="T26" fmla="*/ 240 w 292"/>
                <a:gd name="T27" fmla="*/ 16 h 216"/>
                <a:gd name="T28" fmla="*/ 247 w 292"/>
                <a:gd name="T29" fmla="*/ 39 h 216"/>
                <a:gd name="T30" fmla="*/ 252 w 292"/>
                <a:gd name="T31" fmla="*/ 46 h 216"/>
                <a:gd name="T32" fmla="*/ 252 w 292"/>
                <a:gd name="T33" fmla="*/ 71 h 216"/>
                <a:gd name="T34" fmla="*/ 271 w 292"/>
                <a:gd name="T35" fmla="*/ 64 h 216"/>
                <a:gd name="T36" fmla="*/ 276 w 292"/>
                <a:gd name="T37" fmla="*/ 92 h 216"/>
                <a:gd name="T38" fmla="*/ 273 w 292"/>
                <a:gd name="T39" fmla="*/ 108 h 216"/>
                <a:gd name="T40" fmla="*/ 276 w 292"/>
                <a:gd name="T41" fmla="*/ 131 h 216"/>
                <a:gd name="T42" fmla="*/ 283 w 292"/>
                <a:gd name="T43" fmla="*/ 138 h 216"/>
                <a:gd name="T44" fmla="*/ 283 w 292"/>
                <a:gd name="T45" fmla="*/ 144 h 216"/>
                <a:gd name="T46" fmla="*/ 292 w 292"/>
                <a:gd name="T47" fmla="*/ 163 h 216"/>
                <a:gd name="T48" fmla="*/ 292 w 292"/>
                <a:gd name="T49" fmla="*/ 168 h 216"/>
                <a:gd name="T50" fmla="*/ 271 w 292"/>
                <a:gd name="T51" fmla="*/ 165 h 216"/>
                <a:gd name="T52" fmla="*/ 276 w 292"/>
                <a:gd name="T53" fmla="*/ 177 h 216"/>
                <a:gd name="T54" fmla="*/ 276 w 292"/>
                <a:gd name="T55" fmla="*/ 184 h 216"/>
                <a:gd name="T56" fmla="*/ 264 w 292"/>
                <a:gd name="T57" fmla="*/ 199 h 216"/>
                <a:gd name="T58" fmla="*/ 255 w 292"/>
                <a:gd name="T59" fmla="*/ 199 h 216"/>
                <a:gd name="T60" fmla="*/ 247 w 292"/>
                <a:gd name="T61" fmla="*/ 214 h 216"/>
                <a:gd name="T62" fmla="*/ 226 w 292"/>
                <a:gd name="T63" fmla="*/ 209 h 216"/>
                <a:gd name="T64" fmla="*/ 226 w 292"/>
                <a:gd name="T65" fmla="*/ 195 h 216"/>
                <a:gd name="T66" fmla="*/ 210 w 292"/>
                <a:gd name="T67" fmla="*/ 165 h 216"/>
                <a:gd name="T68" fmla="*/ 174 w 292"/>
                <a:gd name="T69" fmla="*/ 174 h 216"/>
                <a:gd name="T70" fmla="*/ 179 w 292"/>
                <a:gd name="T71" fmla="*/ 153 h 216"/>
                <a:gd name="T72" fmla="*/ 170 w 292"/>
                <a:gd name="T73" fmla="*/ 144 h 216"/>
                <a:gd name="T74" fmla="*/ 152 w 292"/>
                <a:gd name="T75" fmla="*/ 104 h 216"/>
                <a:gd name="T76" fmla="*/ 125 w 292"/>
                <a:gd name="T77" fmla="*/ 108 h 216"/>
                <a:gd name="T78" fmla="*/ 112 w 292"/>
                <a:gd name="T79" fmla="*/ 108 h 216"/>
                <a:gd name="T80" fmla="*/ 94 w 292"/>
                <a:gd name="T81" fmla="*/ 131 h 216"/>
                <a:gd name="T82" fmla="*/ 79 w 292"/>
                <a:gd name="T83" fmla="*/ 144 h 216"/>
                <a:gd name="T84" fmla="*/ 70 w 292"/>
                <a:gd name="T85" fmla="*/ 138 h 216"/>
                <a:gd name="T86" fmla="*/ 61 w 292"/>
                <a:gd name="T87" fmla="*/ 122 h 216"/>
                <a:gd name="T88" fmla="*/ 58 w 292"/>
                <a:gd name="T89" fmla="*/ 122 h 216"/>
                <a:gd name="T90" fmla="*/ 58 w 292"/>
                <a:gd name="T91" fmla="*/ 113 h 216"/>
                <a:gd name="T92" fmla="*/ 52 w 292"/>
                <a:gd name="T93" fmla="*/ 117 h 216"/>
                <a:gd name="T94" fmla="*/ 49 w 292"/>
                <a:gd name="T95" fmla="*/ 113 h 216"/>
                <a:gd name="T96" fmla="*/ 21 w 292"/>
                <a:gd name="T97" fmla="*/ 85 h 216"/>
                <a:gd name="T98" fmla="*/ 21 w 292"/>
                <a:gd name="T99" fmla="*/ 73 h 216"/>
                <a:gd name="T100" fmla="*/ 9 w 292"/>
                <a:gd name="T101" fmla="*/ 71 h 216"/>
                <a:gd name="T102" fmla="*/ 9 w 292"/>
                <a:gd name="T103" fmla="*/ 64 h 216"/>
                <a:gd name="T104" fmla="*/ 0 w 292"/>
                <a:gd name="T105" fmla="*/ 73 h 216"/>
                <a:gd name="T106" fmla="*/ 0 w 292"/>
                <a:gd name="T107" fmla="*/ 71 h 216"/>
                <a:gd name="T108" fmla="*/ 0 w 292"/>
                <a:gd name="T109" fmla="*/ 71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92" h="216">
                  <a:moveTo>
                    <a:pt x="0" y="71"/>
                  </a:moveTo>
                  <a:lnTo>
                    <a:pt x="12" y="46"/>
                  </a:lnTo>
                  <a:lnTo>
                    <a:pt x="21" y="43"/>
                  </a:lnTo>
                  <a:lnTo>
                    <a:pt x="30" y="39"/>
                  </a:lnTo>
                  <a:lnTo>
                    <a:pt x="42" y="39"/>
                  </a:lnTo>
                  <a:lnTo>
                    <a:pt x="52" y="39"/>
                  </a:lnTo>
                  <a:lnTo>
                    <a:pt x="52" y="25"/>
                  </a:lnTo>
                  <a:lnTo>
                    <a:pt x="42" y="21"/>
                  </a:lnTo>
                  <a:lnTo>
                    <a:pt x="58" y="12"/>
                  </a:lnTo>
                  <a:lnTo>
                    <a:pt x="52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89" y="4"/>
                  </a:lnTo>
                  <a:lnTo>
                    <a:pt x="110" y="12"/>
                  </a:lnTo>
                  <a:lnTo>
                    <a:pt x="122" y="9"/>
                  </a:lnTo>
                  <a:lnTo>
                    <a:pt x="148" y="9"/>
                  </a:lnTo>
                  <a:lnTo>
                    <a:pt x="143" y="16"/>
                  </a:lnTo>
                  <a:lnTo>
                    <a:pt x="152" y="25"/>
                  </a:lnTo>
                  <a:lnTo>
                    <a:pt x="160" y="16"/>
                  </a:lnTo>
                  <a:lnTo>
                    <a:pt x="174" y="30"/>
                  </a:lnTo>
                  <a:lnTo>
                    <a:pt x="186" y="16"/>
                  </a:lnTo>
                  <a:lnTo>
                    <a:pt x="204" y="25"/>
                  </a:lnTo>
                  <a:lnTo>
                    <a:pt x="213" y="25"/>
                  </a:lnTo>
                  <a:lnTo>
                    <a:pt x="213" y="21"/>
                  </a:lnTo>
                  <a:lnTo>
                    <a:pt x="226" y="16"/>
                  </a:lnTo>
                  <a:lnTo>
                    <a:pt x="226" y="9"/>
                  </a:lnTo>
                  <a:lnTo>
                    <a:pt x="240" y="9"/>
                  </a:lnTo>
                  <a:lnTo>
                    <a:pt x="240" y="16"/>
                  </a:lnTo>
                  <a:lnTo>
                    <a:pt x="247" y="30"/>
                  </a:lnTo>
                  <a:lnTo>
                    <a:pt x="247" y="39"/>
                  </a:lnTo>
                  <a:lnTo>
                    <a:pt x="252" y="39"/>
                  </a:lnTo>
                  <a:lnTo>
                    <a:pt x="252" y="46"/>
                  </a:lnTo>
                  <a:lnTo>
                    <a:pt x="264" y="53"/>
                  </a:lnTo>
                  <a:lnTo>
                    <a:pt x="252" y="71"/>
                  </a:lnTo>
                  <a:lnTo>
                    <a:pt x="262" y="64"/>
                  </a:lnTo>
                  <a:lnTo>
                    <a:pt x="271" y="64"/>
                  </a:lnTo>
                  <a:lnTo>
                    <a:pt x="271" y="85"/>
                  </a:lnTo>
                  <a:lnTo>
                    <a:pt x="276" y="92"/>
                  </a:lnTo>
                  <a:lnTo>
                    <a:pt x="276" y="101"/>
                  </a:lnTo>
                  <a:lnTo>
                    <a:pt x="273" y="108"/>
                  </a:lnTo>
                  <a:lnTo>
                    <a:pt x="273" y="126"/>
                  </a:lnTo>
                  <a:lnTo>
                    <a:pt x="276" y="131"/>
                  </a:lnTo>
                  <a:lnTo>
                    <a:pt x="283" y="131"/>
                  </a:lnTo>
                  <a:lnTo>
                    <a:pt x="283" y="138"/>
                  </a:lnTo>
                  <a:lnTo>
                    <a:pt x="292" y="144"/>
                  </a:lnTo>
                  <a:lnTo>
                    <a:pt x="283" y="144"/>
                  </a:lnTo>
                  <a:lnTo>
                    <a:pt x="283" y="153"/>
                  </a:lnTo>
                  <a:lnTo>
                    <a:pt x="292" y="163"/>
                  </a:lnTo>
                  <a:lnTo>
                    <a:pt x="292" y="168"/>
                  </a:lnTo>
                  <a:lnTo>
                    <a:pt x="292" y="168"/>
                  </a:lnTo>
                  <a:lnTo>
                    <a:pt x="285" y="165"/>
                  </a:lnTo>
                  <a:lnTo>
                    <a:pt x="271" y="165"/>
                  </a:lnTo>
                  <a:lnTo>
                    <a:pt x="271" y="177"/>
                  </a:lnTo>
                  <a:lnTo>
                    <a:pt x="276" y="177"/>
                  </a:lnTo>
                  <a:lnTo>
                    <a:pt x="283" y="186"/>
                  </a:lnTo>
                  <a:lnTo>
                    <a:pt x="276" y="184"/>
                  </a:lnTo>
                  <a:lnTo>
                    <a:pt x="271" y="205"/>
                  </a:lnTo>
                  <a:lnTo>
                    <a:pt x="264" y="199"/>
                  </a:lnTo>
                  <a:lnTo>
                    <a:pt x="262" y="205"/>
                  </a:lnTo>
                  <a:lnTo>
                    <a:pt x="255" y="199"/>
                  </a:lnTo>
                  <a:lnTo>
                    <a:pt x="252" y="199"/>
                  </a:lnTo>
                  <a:lnTo>
                    <a:pt x="247" y="214"/>
                  </a:lnTo>
                  <a:lnTo>
                    <a:pt x="233" y="216"/>
                  </a:lnTo>
                  <a:lnTo>
                    <a:pt x="226" y="209"/>
                  </a:lnTo>
                  <a:lnTo>
                    <a:pt x="222" y="214"/>
                  </a:lnTo>
                  <a:lnTo>
                    <a:pt x="226" y="195"/>
                  </a:lnTo>
                  <a:lnTo>
                    <a:pt x="222" y="174"/>
                  </a:lnTo>
                  <a:lnTo>
                    <a:pt x="210" y="165"/>
                  </a:lnTo>
                  <a:lnTo>
                    <a:pt x="191" y="165"/>
                  </a:lnTo>
                  <a:lnTo>
                    <a:pt x="174" y="174"/>
                  </a:lnTo>
                  <a:lnTo>
                    <a:pt x="182" y="156"/>
                  </a:lnTo>
                  <a:lnTo>
                    <a:pt x="179" y="153"/>
                  </a:lnTo>
                  <a:lnTo>
                    <a:pt x="179" y="144"/>
                  </a:lnTo>
                  <a:lnTo>
                    <a:pt x="170" y="144"/>
                  </a:lnTo>
                  <a:lnTo>
                    <a:pt x="174" y="135"/>
                  </a:lnTo>
                  <a:lnTo>
                    <a:pt x="152" y="104"/>
                  </a:lnTo>
                  <a:lnTo>
                    <a:pt x="125" y="104"/>
                  </a:lnTo>
                  <a:lnTo>
                    <a:pt x="125" y="108"/>
                  </a:lnTo>
                  <a:lnTo>
                    <a:pt x="118" y="113"/>
                  </a:lnTo>
                  <a:lnTo>
                    <a:pt x="112" y="108"/>
                  </a:lnTo>
                  <a:lnTo>
                    <a:pt x="103" y="108"/>
                  </a:lnTo>
                  <a:lnTo>
                    <a:pt x="94" y="131"/>
                  </a:lnTo>
                  <a:lnTo>
                    <a:pt x="82" y="135"/>
                  </a:lnTo>
                  <a:lnTo>
                    <a:pt x="79" y="144"/>
                  </a:lnTo>
                  <a:lnTo>
                    <a:pt x="70" y="144"/>
                  </a:lnTo>
                  <a:lnTo>
                    <a:pt x="70" y="138"/>
                  </a:lnTo>
                  <a:lnTo>
                    <a:pt x="61" y="126"/>
                  </a:lnTo>
                  <a:lnTo>
                    <a:pt x="61" y="122"/>
                  </a:lnTo>
                  <a:lnTo>
                    <a:pt x="61" y="126"/>
                  </a:lnTo>
                  <a:lnTo>
                    <a:pt x="58" y="122"/>
                  </a:lnTo>
                  <a:lnTo>
                    <a:pt x="58" y="117"/>
                  </a:lnTo>
                  <a:lnTo>
                    <a:pt x="58" y="113"/>
                  </a:lnTo>
                  <a:lnTo>
                    <a:pt x="58" y="117"/>
                  </a:lnTo>
                  <a:lnTo>
                    <a:pt x="52" y="117"/>
                  </a:lnTo>
                  <a:lnTo>
                    <a:pt x="58" y="108"/>
                  </a:lnTo>
                  <a:lnTo>
                    <a:pt x="49" y="113"/>
                  </a:lnTo>
                  <a:lnTo>
                    <a:pt x="27" y="94"/>
                  </a:lnTo>
                  <a:lnTo>
                    <a:pt x="21" y="85"/>
                  </a:lnTo>
                  <a:lnTo>
                    <a:pt x="18" y="85"/>
                  </a:lnTo>
                  <a:lnTo>
                    <a:pt x="21" y="73"/>
                  </a:lnTo>
                  <a:lnTo>
                    <a:pt x="12" y="83"/>
                  </a:lnTo>
                  <a:lnTo>
                    <a:pt x="9" y="71"/>
                  </a:lnTo>
                  <a:lnTo>
                    <a:pt x="12" y="64"/>
                  </a:lnTo>
                  <a:lnTo>
                    <a:pt x="9" y="64"/>
                  </a:lnTo>
                  <a:lnTo>
                    <a:pt x="2" y="73"/>
                  </a:lnTo>
                  <a:lnTo>
                    <a:pt x="0" y="73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0" name="Freeform 26">
              <a:extLst>
                <a:ext uri="{FF2B5EF4-FFF2-40B4-BE49-F238E27FC236}">
                  <a16:creationId xmlns:a16="http://schemas.microsoft.com/office/drawing/2014/main" id="{656ED318-347D-41E2-852C-4BBAA24300A8}"/>
                </a:ext>
              </a:extLst>
            </p:cNvPr>
            <p:cNvSpPr>
              <a:spLocks/>
            </p:cNvSpPr>
            <p:nvPr/>
          </p:nvSpPr>
          <p:spPr bwMode="gray">
            <a:xfrm>
              <a:off x="7445595" y="4018572"/>
              <a:ext cx="12072" cy="12072"/>
            </a:xfrm>
            <a:custGeom>
              <a:avLst/>
              <a:gdLst>
                <a:gd name="T0" fmla="*/ 13 w 13"/>
                <a:gd name="T1" fmla="*/ 0 h 13"/>
                <a:gd name="T2" fmla="*/ 13 w 13"/>
                <a:gd name="T3" fmla="*/ 0 h 13"/>
                <a:gd name="T4" fmla="*/ 6 w 13"/>
                <a:gd name="T5" fmla="*/ 13 h 13"/>
                <a:gd name="T6" fmla="*/ 0 w 13"/>
                <a:gd name="T7" fmla="*/ 9 h 13"/>
                <a:gd name="T8" fmla="*/ 13 w 13"/>
                <a:gd name="T9" fmla="*/ 0 h 13"/>
                <a:gd name="T10" fmla="*/ 13 w 13"/>
                <a:gd name="T11" fmla="*/ 0 h 13"/>
                <a:gd name="T12" fmla="*/ 13 w 13"/>
                <a:gd name="T13" fmla="*/ 0 h 13"/>
                <a:gd name="T14" fmla="*/ 13 w 13"/>
                <a:gd name="T15" fmla="*/ 0 h 13"/>
                <a:gd name="T16" fmla="*/ 13 w 13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3">
                  <a:moveTo>
                    <a:pt x="13" y="0"/>
                  </a:moveTo>
                  <a:lnTo>
                    <a:pt x="13" y="0"/>
                  </a:lnTo>
                  <a:lnTo>
                    <a:pt x="6" y="13"/>
                  </a:lnTo>
                  <a:lnTo>
                    <a:pt x="0" y="9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1" name="Freeform 27">
              <a:extLst>
                <a:ext uri="{FF2B5EF4-FFF2-40B4-BE49-F238E27FC236}">
                  <a16:creationId xmlns:a16="http://schemas.microsoft.com/office/drawing/2014/main" id="{BCC3AEA5-FD25-459F-953C-F6F4B97DB70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85488" y="4837628"/>
              <a:ext cx="221015" cy="239588"/>
            </a:xfrm>
            <a:custGeom>
              <a:avLst/>
              <a:gdLst>
                <a:gd name="T0" fmla="*/ 39 w 238"/>
                <a:gd name="T1" fmla="*/ 235 h 258"/>
                <a:gd name="T2" fmla="*/ 46 w 238"/>
                <a:gd name="T3" fmla="*/ 214 h 258"/>
                <a:gd name="T4" fmla="*/ 48 w 238"/>
                <a:gd name="T5" fmla="*/ 196 h 258"/>
                <a:gd name="T6" fmla="*/ 27 w 238"/>
                <a:gd name="T7" fmla="*/ 182 h 258"/>
                <a:gd name="T8" fmla="*/ 0 w 238"/>
                <a:gd name="T9" fmla="*/ 170 h 258"/>
                <a:gd name="T10" fmla="*/ 15 w 238"/>
                <a:gd name="T11" fmla="*/ 142 h 258"/>
                <a:gd name="T12" fmla="*/ 9 w 238"/>
                <a:gd name="T13" fmla="*/ 124 h 258"/>
                <a:gd name="T14" fmla="*/ 22 w 238"/>
                <a:gd name="T15" fmla="*/ 108 h 258"/>
                <a:gd name="T16" fmla="*/ 22 w 238"/>
                <a:gd name="T17" fmla="*/ 103 h 258"/>
                <a:gd name="T18" fmla="*/ 15 w 238"/>
                <a:gd name="T19" fmla="*/ 90 h 258"/>
                <a:gd name="T20" fmla="*/ 36 w 238"/>
                <a:gd name="T21" fmla="*/ 94 h 258"/>
                <a:gd name="T22" fmla="*/ 36 w 238"/>
                <a:gd name="T23" fmla="*/ 87 h 258"/>
                <a:gd name="T24" fmla="*/ 27 w 238"/>
                <a:gd name="T25" fmla="*/ 68 h 258"/>
                <a:gd name="T26" fmla="*/ 27 w 238"/>
                <a:gd name="T27" fmla="*/ 62 h 258"/>
                <a:gd name="T28" fmla="*/ 22 w 238"/>
                <a:gd name="T29" fmla="*/ 55 h 258"/>
                <a:gd name="T30" fmla="*/ 18 w 238"/>
                <a:gd name="T31" fmla="*/ 31 h 258"/>
                <a:gd name="T32" fmla="*/ 29 w 238"/>
                <a:gd name="T33" fmla="*/ 25 h 258"/>
                <a:gd name="T34" fmla="*/ 60 w 238"/>
                <a:gd name="T35" fmla="*/ 25 h 258"/>
                <a:gd name="T36" fmla="*/ 78 w 238"/>
                <a:gd name="T37" fmla="*/ 15 h 258"/>
                <a:gd name="T38" fmla="*/ 87 w 238"/>
                <a:gd name="T39" fmla="*/ 6 h 258"/>
                <a:gd name="T40" fmla="*/ 90 w 238"/>
                <a:gd name="T41" fmla="*/ 0 h 258"/>
                <a:gd name="T42" fmla="*/ 97 w 238"/>
                <a:gd name="T43" fmla="*/ 25 h 258"/>
                <a:gd name="T44" fmla="*/ 109 w 238"/>
                <a:gd name="T45" fmla="*/ 15 h 258"/>
                <a:gd name="T46" fmla="*/ 126 w 238"/>
                <a:gd name="T47" fmla="*/ 18 h 258"/>
                <a:gd name="T48" fmla="*/ 141 w 238"/>
                <a:gd name="T49" fmla="*/ 31 h 258"/>
                <a:gd name="T50" fmla="*/ 168 w 238"/>
                <a:gd name="T51" fmla="*/ 46 h 258"/>
                <a:gd name="T52" fmla="*/ 195 w 238"/>
                <a:gd name="T53" fmla="*/ 31 h 258"/>
                <a:gd name="T54" fmla="*/ 228 w 238"/>
                <a:gd name="T55" fmla="*/ 55 h 258"/>
                <a:gd name="T56" fmla="*/ 228 w 238"/>
                <a:gd name="T57" fmla="*/ 68 h 258"/>
                <a:gd name="T58" fmla="*/ 238 w 238"/>
                <a:gd name="T59" fmla="*/ 103 h 258"/>
                <a:gd name="T60" fmla="*/ 219 w 238"/>
                <a:gd name="T61" fmla="*/ 149 h 258"/>
                <a:gd name="T62" fmla="*/ 207 w 238"/>
                <a:gd name="T63" fmla="*/ 164 h 258"/>
                <a:gd name="T64" fmla="*/ 228 w 238"/>
                <a:gd name="T65" fmla="*/ 211 h 258"/>
                <a:gd name="T66" fmla="*/ 219 w 238"/>
                <a:gd name="T67" fmla="*/ 226 h 258"/>
                <a:gd name="T68" fmla="*/ 219 w 238"/>
                <a:gd name="T69" fmla="*/ 226 h 258"/>
                <a:gd name="T70" fmla="*/ 210 w 238"/>
                <a:gd name="T71" fmla="*/ 217 h 258"/>
                <a:gd name="T72" fmla="*/ 207 w 238"/>
                <a:gd name="T73" fmla="*/ 226 h 258"/>
                <a:gd name="T74" fmla="*/ 189 w 238"/>
                <a:gd name="T75" fmla="*/ 223 h 258"/>
                <a:gd name="T76" fmla="*/ 189 w 238"/>
                <a:gd name="T77" fmla="*/ 223 h 258"/>
                <a:gd name="T78" fmla="*/ 147 w 238"/>
                <a:gd name="T79" fmla="*/ 226 h 258"/>
                <a:gd name="T80" fmla="*/ 130 w 238"/>
                <a:gd name="T81" fmla="*/ 223 h 258"/>
                <a:gd name="T82" fmla="*/ 130 w 238"/>
                <a:gd name="T83" fmla="*/ 226 h 258"/>
                <a:gd name="T84" fmla="*/ 141 w 238"/>
                <a:gd name="T85" fmla="*/ 226 h 258"/>
                <a:gd name="T86" fmla="*/ 46 w 238"/>
                <a:gd name="T87" fmla="*/ 258 h 258"/>
                <a:gd name="T88" fmla="*/ 46 w 238"/>
                <a:gd name="T89" fmla="*/ 258 h 258"/>
                <a:gd name="T90" fmla="*/ 46 w 238"/>
                <a:gd name="T91" fmla="*/ 258 h 258"/>
                <a:gd name="T92" fmla="*/ 170 w 238"/>
                <a:gd name="T93" fmla="*/ 223 h 258"/>
                <a:gd name="T94" fmla="*/ 147 w 238"/>
                <a:gd name="T95" fmla="*/ 226 h 258"/>
                <a:gd name="T96" fmla="*/ 147 w 238"/>
                <a:gd name="T97" fmla="*/ 226 h 258"/>
                <a:gd name="T98" fmla="*/ 147 w 238"/>
                <a:gd name="T99" fmla="*/ 226 h 258"/>
                <a:gd name="T100" fmla="*/ 217 w 238"/>
                <a:gd name="T101" fmla="*/ 226 h 258"/>
                <a:gd name="T102" fmla="*/ 217 w 238"/>
                <a:gd name="T103" fmla="*/ 226 h 258"/>
                <a:gd name="T104" fmla="*/ 217 w 238"/>
                <a:gd name="T105" fmla="*/ 226 h 258"/>
                <a:gd name="T106" fmla="*/ 217 w 238"/>
                <a:gd name="T107" fmla="*/ 226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8" h="258">
                  <a:moveTo>
                    <a:pt x="46" y="258"/>
                  </a:moveTo>
                  <a:lnTo>
                    <a:pt x="39" y="235"/>
                  </a:lnTo>
                  <a:lnTo>
                    <a:pt x="48" y="217"/>
                  </a:lnTo>
                  <a:lnTo>
                    <a:pt x="46" y="214"/>
                  </a:lnTo>
                  <a:lnTo>
                    <a:pt x="48" y="211"/>
                  </a:lnTo>
                  <a:lnTo>
                    <a:pt x="48" y="196"/>
                  </a:lnTo>
                  <a:lnTo>
                    <a:pt x="29" y="196"/>
                  </a:lnTo>
                  <a:lnTo>
                    <a:pt x="27" y="182"/>
                  </a:lnTo>
                  <a:lnTo>
                    <a:pt x="18" y="182"/>
                  </a:lnTo>
                  <a:lnTo>
                    <a:pt x="0" y="170"/>
                  </a:lnTo>
                  <a:lnTo>
                    <a:pt x="9" y="154"/>
                  </a:lnTo>
                  <a:lnTo>
                    <a:pt x="15" y="142"/>
                  </a:lnTo>
                  <a:lnTo>
                    <a:pt x="6" y="131"/>
                  </a:lnTo>
                  <a:lnTo>
                    <a:pt x="9" y="124"/>
                  </a:lnTo>
                  <a:lnTo>
                    <a:pt x="15" y="131"/>
                  </a:lnTo>
                  <a:lnTo>
                    <a:pt x="22" y="108"/>
                  </a:lnTo>
                  <a:lnTo>
                    <a:pt x="27" y="112"/>
                  </a:lnTo>
                  <a:lnTo>
                    <a:pt x="22" y="103"/>
                  </a:lnTo>
                  <a:lnTo>
                    <a:pt x="15" y="103"/>
                  </a:lnTo>
                  <a:lnTo>
                    <a:pt x="15" y="90"/>
                  </a:lnTo>
                  <a:lnTo>
                    <a:pt x="29" y="90"/>
                  </a:lnTo>
                  <a:lnTo>
                    <a:pt x="36" y="94"/>
                  </a:lnTo>
                  <a:lnTo>
                    <a:pt x="36" y="94"/>
                  </a:lnTo>
                  <a:lnTo>
                    <a:pt x="36" y="87"/>
                  </a:lnTo>
                  <a:lnTo>
                    <a:pt x="27" y="77"/>
                  </a:lnTo>
                  <a:lnTo>
                    <a:pt x="27" y="68"/>
                  </a:lnTo>
                  <a:lnTo>
                    <a:pt x="36" y="68"/>
                  </a:lnTo>
                  <a:lnTo>
                    <a:pt x="27" y="62"/>
                  </a:lnTo>
                  <a:lnTo>
                    <a:pt x="27" y="55"/>
                  </a:lnTo>
                  <a:lnTo>
                    <a:pt x="22" y="55"/>
                  </a:lnTo>
                  <a:lnTo>
                    <a:pt x="18" y="50"/>
                  </a:lnTo>
                  <a:lnTo>
                    <a:pt x="18" y="31"/>
                  </a:lnTo>
                  <a:lnTo>
                    <a:pt x="22" y="25"/>
                  </a:lnTo>
                  <a:lnTo>
                    <a:pt x="29" y="25"/>
                  </a:lnTo>
                  <a:lnTo>
                    <a:pt x="39" y="9"/>
                  </a:lnTo>
                  <a:lnTo>
                    <a:pt x="60" y="25"/>
                  </a:lnTo>
                  <a:lnTo>
                    <a:pt x="67" y="15"/>
                  </a:lnTo>
                  <a:lnTo>
                    <a:pt x="78" y="15"/>
                  </a:lnTo>
                  <a:lnTo>
                    <a:pt x="78" y="0"/>
                  </a:lnTo>
                  <a:lnTo>
                    <a:pt x="87" y="6"/>
                  </a:lnTo>
                  <a:lnTo>
                    <a:pt x="87" y="0"/>
                  </a:lnTo>
                  <a:lnTo>
                    <a:pt x="90" y="0"/>
                  </a:lnTo>
                  <a:lnTo>
                    <a:pt x="97" y="18"/>
                  </a:lnTo>
                  <a:lnTo>
                    <a:pt x="97" y="25"/>
                  </a:lnTo>
                  <a:lnTo>
                    <a:pt x="100" y="25"/>
                  </a:lnTo>
                  <a:lnTo>
                    <a:pt x="109" y="15"/>
                  </a:lnTo>
                  <a:lnTo>
                    <a:pt x="120" y="9"/>
                  </a:lnTo>
                  <a:lnTo>
                    <a:pt x="126" y="18"/>
                  </a:lnTo>
                  <a:lnTo>
                    <a:pt x="135" y="18"/>
                  </a:lnTo>
                  <a:lnTo>
                    <a:pt x="141" y="31"/>
                  </a:lnTo>
                  <a:lnTo>
                    <a:pt x="149" y="40"/>
                  </a:lnTo>
                  <a:lnTo>
                    <a:pt x="168" y="46"/>
                  </a:lnTo>
                  <a:lnTo>
                    <a:pt x="170" y="37"/>
                  </a:lnTo>
                  <a:lnTo>
                    <a:pt x="195" y="31"/>
                  </a:lnTo>
                  <a:lnTo>
                    <a:pt x="210" y="31"/>
                  </a:lnTo>
                  <a:lnTo>
                    <a:pt x="228" y="55"/>
                  </a:lnTo>
                  <a:lnTo>
                    <a:pt x="231" y="50"/>
                  </a:lnTo>
                  <a:lnTo>
                    <a:pt x="228" y="68"/>
                  </a:lnTo>
                  <a:lnTo>
                    <a:pt x="231" y="71"/>
                  </a:lnTo>
                  <a:lnTo>
                    <a:pt x="238" y="103"/>
                  </a:lnTo>
                  <a:lnTo>
                    <a:pt x="228" y="112"/>
                  </a:lnTo>
                  <a:lnTo>
                    <a:pt x="219" y="149"/>
                  </a:lnTo>
                  <a:lnTo>
                    <a:pt x="210" y="161"/>
                  </a:lnTo>
                  <a:lnTo>
                    <a:pt x="207" y="164"/>
                  </a:lnTo>
                  <a:lnTo>
                    <a:pt x="219" y="205"/>
                  </a:lnTo>
                  <a:lnTo>
                    <a:pt x="228" y="211"/>
                  </a:lnTo>
                  <a:lnTo>
                    <a:pt x="228" y="226"/>
                  </a:lnTo>
                  <a:lnTo>
                    <a:pt x="219" y="226"/>
                  </a:lnTo>
                  <a:lnTo>
                    <a:pt x="225" y="223"/>
                  </a:lnTo>
                  <a:lnTo>
                    <a:pt x="219" y="226"/>
                  </a:lnTo>
                  <a:lnTo>
                    <a:pt x="210" y="223"/>
                  </a:lnTo>
                  <a:lnTo>
                    <a:pt x="210" y="217"/>
                  </a:lnTo>
                  <a:lnTo>
                    <a:pt x="207" y="217"/>
                  </a:lnTo>
                  <a:lnTo>
                    <a:pt x="207" y="226"/>
                  </a:lnTo>
                  <a:lnTo>
                    <a:pt x="180" y="223"/>
                  </a:lnTo>
                  <a:lnTo>
                    <a:pt x="189" y="223"/>
                  </a:lnTo>
                  <a:lnTo>
                    <a:pt x="187" y="217"/>
                  </a:lnTo>
                  <a:lnTo>
                    <a:pt x="189" y="223"/>
                  </a:lnTo>
                  <a:lnTo>
                    <a:pt x="159" y="217"/>
                  </a:lnTo>
                  <a:lnTo>
                    <a:pt x="147" y="226"/>
                  </a:lnTo>
                  <a:lnTo>
                    <a:pt x="141" y="223"/>
                  </a:lnTo>
                  <a:lnTo>
                    <a:pt x="130" y="223"/>
                  </a:lnTo>
                  <a:lnTo>
                    <a:pt x="126" y="226"/>
                  </a:lnTo>
                  <a:lnTo>
                    <a:pt x="130" y="226"/>
                  </a:lnTo>
                  <a:lnTo>
                    <a:pt x="130" y="223"/>
                  </a:lnTo>
                  <a:lnTo>
                    <a:pt x="141" y="226"/>
                  </a:lnTo>
                  <a:lnTo>
                    <a:pt x="105" y="233"/>
                  </a:lnTo>
                  <a:lnTo>
                    <a:pt x="46" y="258"/>
                  </a:lnTo>
                  <a:lnTo>
                    <a:pt x="46" y="258"/>
                  </a:lnTo>
                  <a:lnTo>
                    <a:pt x="46" y="258"/>
                  </a:lnTo>
                  <a:lnTo>
                    <a:pt x="46" y="258"/>
                  </a:lnTo>
                  <a:lnTo>
                    <a:pt x="46" y="258"/>
                  </a:lnTo>
                  <a:close/>
                  <a:moveTo>
                    <a:pt x="147" y="226"/>
                  </a:moveTo>
                  <a:lnTo>
                    <a:pt x="170" y="223"/>
                  </a:lnTo>
                  <a:lnTo>
                    <a:pt x="180" y="223"/>
                  </a:lnTo>
                  <a:lnTo>
                    <a:pt x="147" y="226"/>
                  </a:lnTo>
                  <a:lnTo>
                    <a:pt x="147" y="226"/>
                  </a:lnTo>
                  <a:lnTo>
                    <a:pt x="147" y="226"/>
                  </a:lnTo>
                  <a:lnTo>
                    <a:pt x="147" y="226"/>
                  </a:lnTo>
                  <a:lnTo>
                    <a:pt x="147" y="226"/>
                  </a:lnTo>
                  <a:close/>
                  <a:moveTo>
                    <a:pt x="217" y="226"/>
                  </a:moveTo>
                  <a:lnTo>
                    <a:pt x="217" y="226"/>
                  </a:lnTo>
                  <a:lnTo>
                    <a:pt x="210" y="226"/>
                  </a:lnTo>
                  <a:lnTo>
                    <a:pt x="217" y="226"/>
                  </a:lnTo>
                  <a:lnTo>
                    <a:pt x="217" y="226"/>
                  </a:lnTo>
                  <a:lnTo>
                    <a:pt x="217" y="226"/>
                  </a:lnTo>
                  <a:lnTo>
                    <a:pt x="217" y="226"/>
                  </a:lnTo>
                  <a:lnTo>
                    <a:pt x="217" y="22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2" name="Freeform 28">
              <a:extLst>
                <a:ext uri="{FF2B5EF4-FFF2-40B4-BE49-F238E27FC236}">
                  <a16:creationId xmlns:a16="http://schemas.microsoft.com/office/drawing/2014/main" id="{CD01EA0F-0CD2-4602-8A13-073120BE6A7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33523" y="5067001"/>
              <a:ext cx="293449" cy="351952"/>
            </a:xfrm>
            <a:custGeom>
              <a:avLst/>
              <a:gdLst>
                <a:gd name="T0" fmla="*/ 0 w 316"/>
                <a:gd name="T1" fmla="*/ 229 h 379"/>
                <a:gd name="T2" fmla="*/ 4 w 316"/>
                <a:gd name="T3" fmla="*/ 195 h 379"/>
                <a:gd name="T4" fmla="*/ 0 w 316"/>
                <a:gd name="T5" fmla="*/ 186 h 379"/>
                <a:gd name="T6" fmla="*/ 13 w 316"/>
                <a:gd name="T7" fmla="*/ 163 h 379"/>
                <a:gd name="T8" fmla="*/ 22 w 316"/>
                <a:gd name="T9" fmla="*/ 154 h 379"/>
                <a:gd name="T10" fmla="*/ 26 w 316"/>
                <a:gd name="T11" fmla="*/ 142 h 379"/>
                <a:gd name="T12" fmla="*/ 40 w 316"/>
                <a:gd name="T13" fmla="*/ 135 h 379"/>
                <a:gd name="T14" fmla="*/ 35 w 316"/>
                <a:gd name="T15" fmla="*/ 131 h 379"/>
                <a:gd name="T16" fmla="*/ 42 w 316"/>
                <a:gd name="T17" fmla="*/ 119 h 379"/>
                <a:gd name="T18" fmla="*/ 42 w 316"/>
                <a:gd name="T19" fmla="*/ 110 h 379"/>
                <a:gd name="T20" fmla="*/ 40 w 316"/>
                <a:gd name="T21" fmla="*/ 88 h 379"/>
                <a:gd name="T22" fmla="*/ 35 w 316"/>
                <a:gd name="T23" fmla="*/ 73 h 379"/>
                <a:gd name="T24" fmla="*/ 26 w 316"/>
                <a:gd name="T25" fmla="*/ 69 h 379"/>
                <a:gd name="T26" fmla="*/ 22 w 316"/>
                <a:gd name="T27" fmla="*/ 51 h 379"/>
                <a:gd name="T28" fmla="*/ 22 w 316"/>
                <a:gd name="T29" fmla="*/ 38 h 379"/>
                <a:gd name="T30" fmla="*/ 13 w 316"/>
                <a:gd name="T31" fmla="*/ 32 h 379"/>
                <a:gd name="T32" fmla="*/ 4 w 316"/>
                <a:gd name="T33" fmla="*/ 16 h 379"/>
                <a:gd name="T34" fmla="*/ 22 w 316"/>
                <a:gd name="T35" fmla="*/ 0 h 379"/>
                <a:gd name="T36" fmla="*/ 82 w 316"/>
                <a:gd name="T37" fmla="*/ 0 h 379"/>
                <a:gd name="T38" fmla="*/ 86 w 316"/>
                <a:gd name="T39" fmla="*/ 7 h 379"/>
                <a:gd name="T40" fmla="*/ 125 w 316"/>
                <a:gd name="T41" fmla="*/ 11 h 379"/>
                <a:gd name="T42" fmla="*/ 172 w 316"/>
                <a:gd name="T43" fmla="*/ 41 h 379"/>
                <a:gd name="T44" fmla="*/ 183 w 316"/>
                <a:gd name="T45" fmla="*/ 41 h 379"/>
                <a:gd name="T46" fmla="*/ 222 w 316"/>
                <a:gd name="T47" fmla="*/ 51 h 379"/>
                <a:gd name="T48" fmla="*/ 235 w 316"/>
                <a:gd name="T49" fmla="*/ 29 h 379"/>
                <a:gd name="T50" fmla="*/ 273 w 316"/>
                <a:gd name="T51" fmla="*/ 16 h 379"/>
                <a:gd name="T52" fmla="*/ 287 w 316"/>
                <a:gd name="T53" fmla="*/ 29 h 379"/>
                <a:gd name="T54" fmla="*/ 316 w 316"/>
                <a:gd name="T55" fmla="*/ 26 h 379"/>
                <a:gd name="T56" fmla="*/ 295 w 316"/>
                <a:gd name="T57" fmla="*/ 60 h 379"/>
                <a:gd name="T58" fmla="*/ 283 w 316"/>
                <a:gd name="T59" fmla="*/ 73 h 379"/>
                <a:gd name="T60" fmla="*/ 283 w 316"/>
                <a:gd name="T61" fmla="*/ 225 h 379"/>
                <a:gd name="T62" fmla="*/ 304 w 316"/>
                <a:gd name="T63" fmla="*/ 257 h 379"/>
                <a:gd name="T64" fmla="*/ 295 w 316"/>
                <a:gd name="T65" fmla="*/ 266 h 379"/>
                <a:gd name="T66" fmla="*/ 278 w 316"/>
                <a:gd name="T67" fmla="*/ 269 h 379"/>
                <a:gd name="T68" fmla="*/ 278 w 316"/>
                <a:gd name="T69" fmla="*/ 285 h 379"/>
                <a:gd name="T70" fmla="*/ 273 w 316"/>
                <a:gd name="T71" fmla="*/ 278 h 379"/>
                <a:gd name="T72" fmla="*/ 273 w 316"/>
                <a:gd name="T73" fmla="*/ 285 h 379"/>
                <a:gd name="T74" fmla="*/ 265 w 316"/>
                <a:gd name="T75" fmla="*/ 292 h 379"/>
                <a:gd name="T76" fmla="*/ 262 w 316"/>
                <a:gd name="T77" fmla="*/ 292 h 379"/>
                <a:gd name="T78" fmla="*/ 252 w 316"/>
                <a:gd name="T79" fmla="*/ 297 h 379"/>
                <a:gd name="T80" fmla="*/ 247 w 316"/>
                <a:gd name="T81" fmla="*/ 319 h 379"/>
                <a:gd name="T82" fmla="*/ 238 w 316"/>
                <a:gd name="T83" fmla="*/ 322 h 379"/>
                <a:gd name="T84" fmla="*/ 217 w 316"/>
                <a:gd name="T85" fmla="*/ 379 h 379"/>
                <a:gd name="T86" fmla="*/ 207 w 316"/>
                <a:gd name="T87" fmla="*/ 379 h 379"/>
                <a:gd name="T88" fmla="*/ 146 w 316"/>
                <a:gd name="T89" fmla="*/ 329 h 379"/>
                <a:gd name="T90" fmla="*/ 153 w 316"/>
                <a:gd name="T91" fmla="*/ 322 h 379"/>
                <a:gd name="T92" fmla="*/ 146 w 316"/>
                <a:gd name="T93" fmla="*/ 310 h 379"/>
                <a:gd name="T94" fmla="*/ 0 w 316"/>
                <a:gd name="T95" fmla="*/ 229 h 379"/>
                <a:gd name="T96" fmla="*/ 0 w 316"/>
                <a:gd name="T97" fmla="*/ 229 h 379"/>
                <a:gd name="T98" fmla="*/ 0 w 316"/>
                <a:gd name="T99" fmla="*/ 229 h 379"/>
                <a:gd name="T100" fmla="*/ 0 w 316"/>
                <a:gd name="T101" fmla="*/ 229 h 379"/>
                <a:gd name="T102" fmla="*/ 0 w 316"/>
                <a:gd name="T103" fmla="*/ 229 h 379"/>
                <a:gd name="T104" fmla="*/ 283 w 316"/>
                <a:gd name="T105" fmla="*/ 278 h 379"/>
                <a:gd name="T106" fmla="*/ 283 w 316"/>
                <a:gd name="T107" fmla="*/ 275 h 379"/>
                <a:gd name="T108" fmla="*/ 287 w 316"/>
                <a:gd name="T109" fmla="*/ 275 h 379"/>
                <a:gd name="T110" fmla="*/ 283 w 316"/>
                <a:gd name="T111" fmla="*/ 278 h 379"/>
                <a:gd name="T112" fmla="*/ 283 w 316"/>
                <a:gd name="T113" fmla="*/ 278 h 379"/>
                <a:gd name="T114" fmla="*/ 283 w 316"/>
                <a:gd name="T115" fmla="*/ 278 h 379"/>
                <a:gd name="T116" fmla="*/ 283 w 316"/>
                <a:gd name="T117" fmla="*/ 278 h 379"/>
                <a:gd name="T118" fmla="*/ 283 w 316"/>
                <a:gd name="T119" fmla="*/ 278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16" h="379">
                  <a:moveTo>
                    <a:pt x="0" y="229"/>
                  </a:moveTo>
                  <a:lnTo>
                    <a:pt x="4" y="195"/>
                  </a:lnTo>
                  <a:lnTo>
                    <a:pt x="0" y="186"/>
                  </a:lnTo>
                  <a:lnTo>
                    <a:pt x="13" y="163"/>
                  </a:lnTo>
                  <a:lnTo>
                    <a:pt x="22" y="154"/>
                  </a:lnTo>
                  <a:lnTo>
                    <a:pt x="26" y="142"/>
                  </a:lnTo>
                  <a:lnTo>
                    <a:pt x="40" y="135"/>
                  </a:lnTo>
                  <a:lnTo>
                    <a:pt x="35" y="131"/>
                  </a:lnTo>
                  <a:lnTo>
                    <a:pt x="42" y="119"/>
                  </a:lnTo>
                  <a:lnTo>
                    <a:pt x="42" y="110"/>
                  </a:lnTo>
                  <a:lnTo>
                    <a:pt x="40" y="88"/>
                  </a:lnTo>
                  <a:lnTo>
                    <a:pt x="35" y="73"/>
                  </a:lnTo>
                  <a:lnTo>
                    <a:pt x="26" y="69"/>
                  </a:lnTo>
                  <a:lnTo>
                    <a:pt x="22" y="51"/>
                  </a:lnTo>
                  <a:lnTo>
                    <a:pt x="22" y="38"/>
                  </a:lnTo>
                  <a:lnTo>
                    <a:pt x="13" y="32"/>
                  </a:lnTo>
                  <a:lnTo>
                    <a:pt x="4" y="16"/>
                  </a:lnTo>
                  <a:lnTo>
                    <a:pt x="22" y="0"/>
                  </a:lnTo>
                  <a:lnTo>
                    <a:pt x="82" y="0"/>
                  </a:lnTo>
                  <a:lnTo>
                    <a:pt x="86" y="7"/>
                  </a:lnTo>
                  <a:lnTo>
                    <a:pt x="125" y="11"/>
                  </a:lnTo>
                  <a:lnTo>
                    <a:pt x="172" y="41"/>
                  </a:lnTo>
                  <a:lnTo>
                    <a:pt x="183" y="41"/>
                  </a:lnTo>
                  <a:lnTo>
                    <a:pt x="222" y="51"/>
                  </a:lnTo>
                  <a:lnTo>
                    <a:pt x="235" y="29"/>
                  </a:lnTo>
                  <a:lnTo>
                    <a:pt x="273" y="16"/>
                  </a:lnTo>
                  <a:lnTo>
                    <a:pt x="287" y="29"/>
                  </a:lnTo>
                  <a:lnTo>
                    <a:pt x="316" y="26"/>
                  </a:lnTo>
                  <a:lnTo>
                    <a:pt x="295" y="60"/>
                  </a:lnTo>
                  <a:lnTo>
                    <a:pt x="283" y="73"/>
                  </a:lnTo>
                  <a:lnTo>
                    <a:pt x="283" y="225"/>
                  </a:lnTo>
                  <a:lnTo>
                    <a:pt x="304" y="257"/>
                  </a:lnTo>
                  <a:lnTo>
                    <a:pt x="295" y="266"/>
                  </a:lnTo>
                  <a:lnTo>
                    <a:pt x="278" y="269"/>
                  </a:lnTo>
                  <a:lnTo>
                    <a:pt x="278" y="285"/>
                  </a:lnTo>
                  <a:lnTo>
                    <a:pt x="273" y="278"/>
                  </a:lnTo>
                  <a:lnTo>
                    <a:pt x="273" y="285"/>
                  </a:lnTo>
                  <a:lnTo>
                    <a:pt x="265" y="292"/>
                  </a:lnTo>
                  <a:lnTo>
                    <a:pt x="262" y="292"/>
                  </a:lnTo>
                  <a:lnTo>
                    <a:pt x="252" y="297"/>
                  </a:lnTo>
                  <a:lnTo>
                    <a:pt x="247" y="319"/>
                  </a:lnTo>
                  <a:lnTo>
                    <a:pt x="238" y="322"/>
                  </a:lnTo>
                  <a:lnTo>
                    <a:pt x="217" y="379"/>
                  </a:lnTo>
                  <a:lnTo>
                    <a:pt x="207" y="379"/>
                  </a:lnTo>
                  <a:lnTo>
                    <a:pt x="146" y="329"/>
                  </a:lnTo>
                  <a:lnTo>
                    <a:pt x="153" y="322"/>
                  </a:lnTo>
                  <a:lnTo>
                    <a:pt x="146" y="310"/>
                  </a:lnTo>
                  <a:lnTo>
                    <a:pt x="0" y="229"/>
                  </a:lnTo>
                  <a:lnTo>
                    <a:pt x="0" y="229"/>
                  </a:lnTo>
                  <a:lnTo>
                    <a:pt x="0" y="229"/>
                  </a:lnTo>
                  <a:lnTo>
                    <a:pt x="0" y="229"/>
                  </a:lnTo>
                  <a:lnTo>
                    <a:pt x="0" y="229"/>
                  </a:lnTo>
                  <a:close/>
                  <a:moveTo>
                    <a:pt x="283" y="278"/>
                  </a:moveTo>
                  <a:lnTo>
                    <a:pt x="283" y="275"/>
                  </a:lnTo>
                  <a:lnTo>
                    <a:pt x="287" y="275"/>
                  </a:lnTo>
                  <a:lnTo>
                    <a:pt x="283" y="278"/>
                  </a:lnTo>
                  <a:lnTo>
                    <a:pt x="283" y="278"/>
                  </a:lnTo>
                  <a:lnTo>
                    <a:pt x="283" y="278"/>
                  </a:lnTo>
                  <a:lnTo>
                    <a:pt x="283" y="278"/>
                  </a:lnTo>
                  <a:lnTo>
                    <a:pt x="283" y="27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3" name="Freeform 29">
              <a:extLst>
                <a:ext uri="{FF2B5EF4-FFF2-40B4-BE49-F238E27FC236}">
                  <a16:creationId xmlns:a16="http://schemas.microsoft.com/office/drawing/2014/main" id="{10242E12-124D-4FD0-982A-E36682BE45C1}"/>
                </a:ext>
              </a:extLst>
            </p:cNvPr>
            <p:cNvSpPr>
              <a:spLocks/>
            </p:cNvSpPr>
            <p:nvPr/>
          </p:nvSpPr>
          <p:spPr bwMode="gray">
            <a:xfrm>
              <a:off x="5779624" y="4922134"/>
              <a:ext cx="149510" cy="155082"/>
            </a:xfrm>
            <a:custGeom>
              <a:avLst/>
              <a:gdLst>
                <a:gd name="T0" fmla="*/ 0 w 161"/>
                <a:gd name="T1" fmla="*/ 64 h 167"/>
                <a:gd name="T2" fmla="*/ 6 w 161"/>
                <a:gd name="T3" fmla="*/ 52 h 167"/>
                <a:gd name="T4" fmla="*/ 21 w 161"/>
                <a:gd name="T5" fmla="*/ 39 h 167"/>
                <a:gd name="T6" fmla="*/ 37 w 161"/>
                <a:gd name="T7" fmla="*/ 30 h 167"/>
                <a:gd name="T8" fmla="*/ 37 w 161"/>
                <a:gd name="T9" fmla="*/ 18 h 167"/>
                <a:gd name="T10" fmla="*/ 42 w 161"/>
                <a:gd name="T11" fmla="*/ 12 h 167"/>
                <a:gd name="T12" fmla="*/ 49 w 161"/>
                <a:gd name="T13" fmla="*/ 0 h 167"/>
                <a:gd name="T14" fmla="*/ 67 w 161"/>
                <a:gd name="T15" fmla="*/ 0 h 167"/>
                <a:gd name="T16" fmla="*/ 79 w 161"/>
                <a:gd name="T17" fmla="*/ 9 h 167"/>
                <a:gd name="T18" fmla="*/ 82 w 161"/>
                <a:gd name="T19" fmla="*/ 30 h 167"/>
                <a:gd name="T20" fmla="*/ 79 w 161"/>
                <a:gd name="T21" fmla="*/ 48 h 167"/>
                <a:gd name="T22" fmla="*/ 82 w 161"/>
                <a:gd name="T23" fmla="*/ 42 h 167"/>
                <a:gd name="T24" fmla="*/ 91 w 161"/>
                <a:gd name="T25" fmla="*/ 52 h 167"/>
                <a:gd name="T26" fmla="*/ 103 w 161"/>
                <a:gd name="T27" fmla="*/ 48 h 167"/>
                <a:gd name="T28" fmla="*/ 109 w 161"/>
                <a:gd name="T29" fmla="*/ 33 h 167"/>
                <a:gd name="T30" fmla="*/ 112 w 161"/>
                <a:gd name="T31" fmla="*/ 33 h 167"/>
                <a:gd name="T32" fmla="*/ 119 w 161"/>
                <a:gd name="T33" fmla="*/ 39 h 167"/>
                <a:gd name="T34" fmla="*/ 128 w 161"/>
                <a:gd name="T35" fmla="*/ 52 h 167"/>
                <a:gd name="T36" fmla="*/ 122 w 161"/>
                <a:gd name="T37" fmla="*/ 64 h 167"/>
                <a:gd name="T38" fmla="*/ 112 w 161"/>
                <a:gd name="T39" fmla="*/ 80 h 167"/>
                <a:gd name="T40" fmla="*/ 131 w 161"/>
                <a:gd name="T41" fmla="*/ 92 h 167"/>
                <a:gd name="T42" fmla="*/ 140 w 161"/>
                <a:gd name="T43" fmla="*/ 92 h 167"/>
                <a:gd name="T44" fmla="*/ 142 w 161"/>
                <a:gd name="T45" fmla="*/ 105 h 167"/>
                <a:gd name="T46" fmla="*/ 161 w 161"/>
                <a:gd name="T47" fmla="*/ 105 h 167"/>
                <a:gd name="T48" fmla="*/ 161 w 161"/>
                <a:gd name="T49" fmla="*/ 120 h 167"/>
                <a:gd name="T50" fmla="*/ 159 w 161"/>
                <a:gd name="T51" fmla="*/ 123 h 167"/>
                <a:gd name="T52" fmla="*/ 161 w 161"/>
                <a:gd name="T53" fmla="*/ 126 h 167"/>
                <a:gd name="T54" fmla="*/ 152 w 161"/>
                <a:gd name="T55" fmla="*/ 145 h 167"/>
                <a:gd name="T56" fmla="*/ 159 w 161"/>
                <a:gd name="T57" fmla="*/ 167 h 167"/>
                <a:gd name="T58" fmla="*/ 128 w 161"/>
                <a:gd name="T59" fmla="*/ 157 h 167"/>
                <a:gd name="T60" fmla="*/ 91 w 161"/>
                <a:gd name="T61" fmla="*/ 142 h 167"/>
                <a:gd name="T62" fmla="*/ 42 w 161"/>
                <a:gd name="T63" fmla="*/ 92 h 167"/>
                <a:gd name="T64" fmla="*/ 28 w 161"/>
                <a:gd name="T65" fmla="*/ 92 h 167"/>
                <a:gd name="T66" fmla="*/ 21 w 161"/>
                <a:gd name="T67" fmla="*/ 83 h 167"/>
                <a:gd name="T68" fmla="*/ 6 w 161"/>
                <a:gd name="T69" fmla="*/ 73 h 167"/>
                <a:gd name="T70" fmla="*/ 0 w 161"/>
                <a:gd name="T71" fmla="*/ 64 h 167"/>
                <a:gd name="T72" fmla="*/ 0 w 161"/>
                <a:gd name="T73" fmla="*/ 64 h 167"/>
                <a:gd name="T74" fmla="*/ 0 w 161"/>
                <a:gd name="T75" fmla="*/ 64 h 167"/>
                <a:gd name="T76" fmla="*/ 0 w 161"/>
                <a:gd name="T77" fmla="*/ 64 h 167"/>
                <a:gd name="T78" fmla="*/ 0 w 161"/>
                <a:gd name="T79" fmla="*/ 64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1" h="167">
                  <a:moveTo>
                    <a:pt x="0" y="64"/>
                  </a:moveTo>
                  <a:lnTo>
                    <a:pt x="6" y="52"/>
                  </a:lnTo>
                  <a:lnTo>
                    <a:pt x="21" y="39"/>
                  </a:lnTo>
                  <a:lnTo>
                    <a:pt x="37" y="30"/>
                  </a:lnTo>
                  <a:lnTo>
                    <a:pt x="37" y="18"/>
                  </a:lnTo>
                  <a:lnTo>
                    <a:pt x="42" y="12"/>
                  </a:lnTo>
                  <a:lnTo>
                    <a:pt x="49" y="0"/>
                  </a:lnTo>
                  <a:lnTo>
                    <a:pt x="67" y="0"/>
                  </a:lnTo>
                  <a:lnTo>
                    <a:pt x="79" y="9"/>
                  </a:lnTo>
                  <a:lnTo>
                    <a:pt x="82" y="30"/>
                  </a:lnTo>
                  <a:lnTo>
                    <a:pt x="79" y="48"/>
                  </a:lnTo>
                  <a:lnTo>
                    <a:pt x="82" y="42"/>
                  </a:lnTo>
                  <a:lnTo>
                    <a:pt x="91" y="52"/>
                  </a:lnTo>
                  <a:lnTo>
                    <a:pt x="103" y="48"/>
                  </a:lnTo>
                  <a:lnTo>
                    <a:pt x="109" y="33"/>
                  </a:lnTo>
                  <a:lnTo>
                    <a:pt x="112" y="33"/>
                  </a:lnTo>
                  <a:lnTo>
                    <a:pt x="119" y="39"/>
                  </a:lnTo>
                  <a:lnTo>
                    <a:pt x="128" y="52"/>
                  </a:lnTo>
                  <a:lnTo>
                    <a:pt x="122" y="64"/>
                  </a:lnTo>
                  <a:lnTo>
                    <a:pt x="112" y="80"/>
                  </a:lnTo>
                  <a:lnTo>
                    <a:pt x="131" y="92"/>
                  </a:lnTo>
                  <a:lnTo>
                    <a:pt x="140" y="92"/>
                  </a:lnTo>
                  <a:lnTo>
                    <a:pt x="142" y="105"/>
                  </a:lnTo>
                  <a:lnTo>
                    <a:pt x="161" y="105"/>
                  </a:lnTo>
                  <a:lnTo>
                    <a:pt x="161" y="120"/>
                  </a:lnTo>
                  <a:lnTo>
                    <a:pt x="159" y="123"/>
                  </a:lnTo>
                  <a:lnTo>
                    <a:pt x="161" y="126"/>
                  </a:lnTo>
                  <a:lnTo>
                    <a:pt x="152" y="145"/>
                  </a:lnTo>
                  <a:lnTo>
                    <a:pt x="159" y="167"/>
                  </a:lnTo>
                  <a:lnTo>
                    <a:pt x="128" y="157"/>
                  </a:lnTo>
                  <a:lnTo>
                    <a:pt x="91" y="142"/>
                  </a:lnTo>
                  <a:lnTo>
                    <a:pt x="42" y="92"/>
                  </a:lnTo>
                  <a:lnTo>
                    <a:pt x="28" y="92"/>
                  </a:lnTo>
                  <a:lnTo>
                    <a:pt x="21" y="83"/>
                  </a:lnTo>
                  <a:lnTo>
                    <a:pt x="6" y="73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4" name="Freeform 30">
              <a:extLst>
                <a:ext uri="{FF2B5EF4-FFF2-40B4-BE49-F238E27FC236}">
                  <a16:creationId xmlns:a16="http://schemas.microsoft.com/office/drawing/2014/main" id="{49764132-EE9A-47B8-ADFC-DDA29EDB837F}"/>
                </a:ext>
              </a:extLst>
            </p:cNvPr>
            <p:cNvSpPr>
              <a:spLocks/>
            </p:cNvSpPr>
            <p:nvPr/>
          </p:nvSpPr>
          <p:spPr bwMode="gray">
            <a:xfrm>
              <a:off x="7184649" y="6343872"/>
              <a:ext cx="91935" cy="84505"/>
            </a:xfrm>
            <a:custGeom>
              <a:avLst/>
              <a:gdLst>
                <a:gd name="T0" fmla="*/ 72 w 99"/>
                <a:gd name="T1" fmla="*/ 7 h 91"/>
                <a:gd name="T2" fmla="*/ 94 w 99"/>
                <a:gd name="T3" fmla="*/ 21 h 91"/>
                <a:gd name="T4" fmla="*/ 99 w 99"/>
                <a:gd name="T5" fmla="*/ 31 h 91"/>
                <a:gd name="T6" fmla="*/ 90 w 99"/>
                <a:gd name="T7" fmla="*/ 41 h 91"/>
                <a:gd name="T8" fmla="*/ 90 w 99"/>
                <a:gd name="T9" fmla="*/ 44 h 91"/>
                <a:gd name="T10" fmla="*/ 84 w 99"/>
                <a:gd name="T11" fmla="*/ 44 h 91"/>
                <a:gd name="T12" fmla="*/ 84 w 99"/>
                <a:gd name="T13" fmla="*/ 59 h 91"/>
                <a:gd name="T14" fmla="*/ 72 w 99"/>
                <a:gd name="T15" fmla="*/ 69 h 91"/>
                <a:gd name="T16" fmla="*/ 53 w 99"/>
                <a:gd name="T17" fmla="*/ 69 h 91"/>
                <a:gd name="T18" fmla="*/ 40 w 99"/>
                <a:gd name="T19" fmla="*/ 91 h 91"/>
                <a:gd name="T20" fmla="*/ 28 w 99"/>
                <a:gd name="T21" fmla="*/ 91 h 91"/>
                <a:gd name="T22" fmla="*/ 16 w 99"/>
                <a:gd name="T23" fmla="*/ 75 h 91"/>
                <a:gd name="T24" fmla="*/ 9 w 99"/>
                <a:gd name="T25" fmla="*/ 62 h 91"/>
                <a:gd name="T26" fmla="*/ 0 w 99"/>
                <a:gd name="T27" fmla="*/ 44 h 91"/>
                <a:gd name="T28" fmla="*/ 9 w 99"/>
                <a:gd name="T29" fmla="*/ 41 h 91"/>
                <a:gd name="T30" fmla="*/ 21 w 99"/>
                <a:gd name="T31" fmla="*/ 18 h 91"/>
                <a:gd name="T32" fmla="*/ 47 w 99"/>
                <a:gd name="T33" fmla="*/ 7 h 91"/>
                <a:gd name="T34" fmla="*/ 63 w 99"/>
                <a:gd name="T35" fmla="*/ 0 h 91"/>
                <a:gd name="T36" fmla="*/ 72 w 99"/>
                <a:gd name="T37" fmla="*/ 7 h 91"/>
                <a:gd name="T38" fmla="*/ 72 w 99"/>
                <a:gd name="T39" fmla="*/ 7 h 91"/>
                <a:gd name="T40" fmla="*/ 72 w 99"/>
                <a:gd name="T41" fmla="*/ 7 h 91"/>
                <a:gd name="T42" fmla="*/ 72 w 99"/>
                <a:gd name="T43" fmla="*/ 7 h 91"/>
                <a:gd name="T44" fmla="*/ 72 w 99"/>
                <a:gd name="T45" fmla="*/ 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91">
                  <a:moveTo>
                    <a:pt x="72" y="7"/>
                  </a:moveTo>
                  <a:lnTo>
                    <a:pt x="94" y="21"/>
                  </a:lnTo>
                  <a:lnTo>
                    <a:pt x="99" y="31"/>
                  </a:lnTo>
                  <a:lnTo>
                    <a:pt x="90" y="41"/>
                  </a:lnTo>
                  <a:lnTo>
                    <a:pt x="90" y="44"/>
                  </a:lnTo>
                  <a:lnTo>
                    <a:pt x="84" y="44"/>
                  </a:lnTo>
                  <a:lnTo>
                    <a:pt x="84" y="59"/>
                  </a:lnTo>
                  <a:lnTo>
                    <a:pt x="72" y="69"/>
                  </a:lnTo>
                  <a:lnTo>
                    <a:pt x="53" y="69"/>
                  </a:lnTo>
                  <a:lnTo>
                    <a:pt x="40" y="91"/>
                  </a:lnTo>
                  <a:lnTo>
                    <a:pt x="28" y="91"/>
                  </a:lnTo>
                  <a:lnTo>
                    <a:pt x="16" y="75"/>
                  </a:lnTo>
                  <a:lnTo>
                    <a:pt x="9" y="62"/>
                  </a:lnTo>
                  <a:lnTo>
                    <a:pt x="0" y="44"/>
                  </a:lnTo>
                  <a:lnTo>
                    <a:pt x="9" y="41"/>
                  </a:lnTo>
                  <a:lnTo>
                    <a:pt x="21" y="18"/>
                  </a:lnTo>
                  <a:lnTo>
                    <a:pt x="47" y="7"/>
                  </a:lnTo>
                  <a:lnTo>
                    <a:pt x="63" y="0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2" y="7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5" name="Freeform 31">
              <a:extLst>
                <a:ext uri="{FF2B5EF4-FFF2-40B4-BE49-F238E27FC236}">
                  <a16:creationId xmlns:a16="http://schemas.microsoft.com/office/drawing/2014/main" id="{78872FCD-02C8-461D-926A-2FD53361EEAB}"/>
                </a:ext>
              </a:extLst>
            </p:cNvPr>
            <p:cNvSpPr>
              <a:spLocks/>
            </p:cNvSpPr>
            <p:nvPr/>
          </p:nvSpPr>
          <p:spPr bwMode="gray">
            <a:xfrm>
              <a:off x="6540176" y="3950782"/>
              <a:ext cx="576682" cy="549751"/>
            </a:xfrm>
            <a:custGeom>
              <a:avLst/>
              <a:gdLst>
                <a:gd name="T0" fmla="*/ 613 w 621"/>
                <a:gd name="T1" fmla="*/ 486 h 592"/>
                <a:gd name="T2" fmla="*/ 573 w 621"/>
                <a:gd name="T3" fmla="*/ 571 h 592"/>
                <a:gd name="T4" fmla="*/ 414 w 621"/>
                <a:gd name="T5" fmla="*/ 505 h 592"/>
                <a:gd name="T6" fmla="*/ 221 w 621"/>
                <a:gd name="T7" fmla="*/ 445 h 592"/>
                <a:gd name="T8" fmla="*/ 162 w 621"/>
                <a:gd name="T9" fmla="*/ 436 h 592"/>
                <a:gd name="T10" fmla="*/ 87 w 621"/>
                <a:gd name="T11" fmla="*/ 387 h 592"/>
                <a:gd name="T12" fmla="*/ 42 w 621"/>
                <a:gd name="T13" fmla="*/ 383 h 592"/>
                <a:gd name="T14" fmla="*/ 36 w 621"/>
                <a:gd name="T15" fmla="*/ 371 h 592"/>
                <a:gd name="T16" fmla="*/ 28 w 621"/>
                <a:gd name="T17" fmla="*/ 343 h 592"/>
                <a:gd name="T18" fmla="*/ 7 w 621"/>
                <a:gd name="T19" fmla="*/ 299 h 592"/>
                <a:gd name="T20" fmla="*/ 21 w 621"/>
                <a:gd name="T21" fmla="*/ 281 h 592"/>
                <a:gd name="T22" fmla="*/ 12 w 621"/>
                <a:gd name="T23" fmla="*/ 258 h 592"/>
                <a:gd name="T24" fmla="*/ 18 w 621"/>
                <a:gd name="T25" fmla="*/ 219 h 592"/>
                <a:gd name="T26" fmla="*/ 12 w 621"/>
                <a:gd name="T27" fmla="*/ 156 h 592"/>
                <a:gd name="T28" fmla="*/ 9 w 621"/>
                <a:gd name="T29" fmla="*/ 131 h 592"/>
                <a:gd name="T30" fmla="*/ 36 w 621"/>
                <a:gd name="T31" fmla="*/ 106 h 592"/>
                <a:gd name="T32" fmla="*/ 30 w 621"/>
                <a:gd name="T33" fmla="*/ 76 h 592"/>
                <a:gd name="T34" fmla="*/ 42 w 621"/>
                <a:gd name="T35" fmla="*/ 62 h 592"/>
                <a:gd name="T36" fmla="*/ 87 w 621"/>
                <a:gd name="T37" fmla="*/ 32 h 592"/>
                <a:gd name="T38" fmla="*/ 87 w 621"/>
                <a:gd name="T39" fmla="*/ 0 h 592"/>
                <a:gd name="T40" fmla="*/ 138 w 621"/>
                <a:gd name="T41" fmla="*/ 13 h 592"/>
                <a:gd name="T42" fmla="*/ 190 w 621"/>
                <a:gd name="T43" fmla="*/ 18 h 592"/>
                <a:gd name="T44" fmla="*/ 230 w 621"/>
                <a:gd name="T45" fmla="*/ 32 h 592"/>
                <a:gd name="T46" fmla="*/ 241 w 621"/>
                <a:gd name="T47" fmla="*/ 69 h 592"/>
                <a:gd name="T48" fmla="*/ 268 w 621"/>
                <a:gd name="T49" fmla="*/ 85 h 592"/>
                <a:gd name="T50" fmla="*/ 313 w 621"/>
                <a:gd name="T51" fmla="*/ 94 h 592"/>
                <a:gd name="T52" fmla="*/ 380 w 621"/>
                <a:gd name="T53" fmla="*/ 131 h 592"/>
                <a:gd name="T54" fmla="*/ 401 w 621"/>
                <a:gd name="T55" fmla="*/ 122 h 592"/>
                <a:gd name="T56" fmla="*/ 423 w 621"/>
                <a:gd name="T57" fmla="*/ 90 h 592"/>
                <a:gd name="T58" fmla="*/ 423 w 621"/>
                <a:gd name="T59" fmla="*/ 44 h 592"/>
                <a:gd name="T60" fmla="*/ 458 w 621"/>
                <a:gd name="T61" fmla="*/ 18 h 592"/>
                <a:gd name="T62" fmla="*/ 482 w 621"/>
                <a:gd name="T63" fmla="*/ 9 h 592"/>
                <a:gd name="T64" fmla="*/ 540 w 621"/>
                <a:gd name="T65" fmla="*/ 22 h 592"/>
                <a:gd name="T66" fmla="*/ 543 w 621"/>
                <a:gd name="T67" fmla="*/ 41 h 592"/>
                <a:gd name="T68" fmla="*/ 579 w 621"/>
                <a:gd name="T69" fmla="*/ 53 h 592"/>
                <a:gd name="T70" fmla="*/ 621 w 621"/>
                <a:gd name="T71" fmla="*/ 69 h 592"/>
                <a:gd name="T72" fmla="*/ 613 w 621"/>
                <a:gd name="T73" fmla="*/ 106 h 592"/>
                <a:gd name="T74" fmla="*/ 613 w 621"/>
                <a:gd name="T75" fmla="*/ 175 h 592"/>
                <a:gd name="T76" fmla="*/ 613 w 621"/>
                <a:gd name="T77" fmla="*/ 246 h 592"/>
                <a:gd name="T78" fmla="*/ 613 w 621"/>
                <a:gd name="T79" fmla="*/ 246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21" h="592">
                  <a:moveTo>
                    <a:pt x="613" y="246"/>
                  </a:moveTo>
                  <a:lnTo>
                    <a:pt x="613" y="486"/>
                  </a:lnTo>
                  <a:lnTo>
                    <a:pt x="613" y="571"/>
                  </a:lnTo>
                  <a:lnTo>
                    <a:pt x="573" y="571"/>
                  </a:lnTo>
                  <a:lnTo>
                    <a:pt x="573" y="592"/>
                  </a:lnTo>
                  <a:lnTo>
                    <a:pt x="414" y="505"/>
                  </a:lnTo>
                  <a:lnTo>
                    <a:pt x="259" y="427"/>
                  </a:lnTo>
                  <a:lnTo>
                    <a:pt x="221" y="445"/>
                  </a:lnTo>
                  <a:lnTo>
                    <a:pt x="190" y="465"/>
                  </a:lnTo>
                  <a:lnTo>
                    <a:pt x="162" y="436"/>
                  </a:lnTo>
                  <a:lnTo>
                    <a:pt x="103" y="424"/>
                  </a:lnTo>
                  <a:lnTo>
                    <a:pt x="87" y="387"/>
                  </a:lnTo>
                  <a:lnTo>
                    <a:pt x="51" y="380"/>
                  </a:lnTo>
                  <a:lnTo>
                    <a:pt x="42" y="383"/>
                  </a:lnTo>
                  <a:lnTo>
                    <a:pt x="36" y="373"/>
                  </a:lnTo>
                  <a:lnTo>
                    <a:pt x="36" y="371"/>
                  </a:lnTo>
                  <a:lnTo>
                    <a:pt x="28" y="364"/>
                  </a:lnTo>
                  <a:lnTo>
                    <a:pt x="28" y="343"/>
                  </a:lnTo>
                  <a:lnTo>
                    <a:pt x="0" y="308"/>
                  </a:lnTo>
                  <a:lnTo>
                    <a:pt x="7" y="299"/>
                  </a:lnTo>
                  <a:lnTo>
                    <a:pt x="21" y="293"/>
                  </a:lnTo>
                  <a:lnTo>
                    <a:pt x="21" y="281"/>
                  </a:lnTo>
                  <a:lnTo>
                    <a:pt x="21" y="277"/>
                  </a:lnTo>
                  <a:lnTo>
                    <a:pt x="12" y="258"/>
                  </a:lnTo>
                  <a:lnTo>
                    <a:pt x="28" y="237"/>
                  </a:lnTo>
                  <a:lnTo>
                    <a:pt x="18" y="219"/>
                  </a:lnTo>
                  <a:lnTo>
                    <a:pt x="18" y="178"/>
                  </a:lnTo>
                  <a:lnTo>
                    <a:pt x="12" y="156"/>
                  </a:lnTo>
                  <a:lnTo>
                    <a:pt x="0" y="134"/>
                  </a:lnTo>
                  <a:lnTo>
                    <a:pt x="9" y="131"/>
                  </a:lnTo>
                  <a:lnTo>
                    <a:pt x="21" y="124"/>
                  </a:lnTo>
                  <a:lnTo>
                    <a:pt x="36" y="106"/>
                  </a:lnTo>
                  <a:lnTo>
                    <a:pt x="40" y="99"/>
                  </a:lnTo>
                  <a:lnTo>
                    <a:pt x="30" y="76"/>
                  </a:lnTo>
                  <a:lnTo>
                    <a:pt x="40" y="69"/>
                  </a:lnTo>
                  <a:lnTo>
                    <a:pt x="42" y="62"/>
                  </a:lnTo>
                  <a:lnTo>
                    <a:pt x="61" y="44"/>
                  </a:lnTo>
                  <a:lnTo>
                    <a:pt x="87" y="32"/>
                  </a:lnTo>
                  <a:lnTo>
                    <a:pt x="82" y="22"/>
                  </a:lnTo>
                  <a:lnTo>
                    <a:pt x="87" y="0"/>
                  </a:lnTo>
                  <a:lnTo>
                    <a:pt x="117" y="13"/>
                  </a:lnTo>
                  <a:lnTo>
                    <a:pt x="138" y="13"/>
                  </a:lnTo>
                  <a:lnTo>
                    <a:pt x="157" y="9"/>
                  </a:lnTo>
                  <a:lnTo>
                    <a:pt x="190" y="18"/>
                  </a:lnTo>
                  <a:lnTo>
                    <a:pt x="202" y="28"/>
                  </a:lnTo>
                  <a:lnTo>
                    <a:pt x="230" y="32"/>
                  </a:lnTo>
                  <a:lnTo>
                    <a:pt x="237" y="44"/>
                  </a:lnTo>
                  <a:lnTo>
                    <a:pt x="241" y="69"/>
                  </a:lnTo>
                  <a:lnTo>
                    <a:pt x="251" y="81"/>
                  </a:lnTo>
                  <a:lnTo>
                    <a:pt x="268" y="85"/>
                  </a:lnTo>
                  <a:lnTo>
                    <a:pt x="289" y="85"/>
                  </a:lnTo>
                  <a:lnTo>
                    <a:pt x="313" y="94"/>
                  </a:lnTo>
                  <a:lnTo>
                    <a:pt x="343" y="106"/>
                  </a:lnTo>
                  <a:lnTo>
                    <a:pt x="380" y="131"/>
                  </a:lnTo>
                  <a:lnTo>
                    <a:pt x="392" y="131"/>
                  </a:lnTo>
                  <a:lnTo>
                    <a:pt x="401" y="122"/>
                  </a:lnTo>
                  <a:lnTo>
                    <a:pt x="419" y="103"/>
                  </a:lnTo>
                  <a:lnTo>
                    <a:pt x="423" y="90"/>
                  </a:lnTo>
                  <a:lnTo>
                    <a:pt x="414" y="62"/>
                  </a:lnTo>
                  <a:lnTo>
                    <a:pt x="423" y="44"/>
                  </a:lnTo>
                  <a:lnTo>
                    <a:pt x="440" y="28"/>
                  </a:lnTo>
                  <a:lnTo>
                    <a:pt x="458" y="18"/>
                  </a:lnTo>
                  <a:lnTo>
                    <a:pt x="474" y="13"/>
                  </a:lnTo>
                  <a:lnTo>
                    <a:pt x="482" y="9"/>
                  </a:lnTo>
                  <a:lnTo>
                    <a:pt x="510" y="13"/>
                  </a:lnTo>
                  <a:lnTo>
                    <a:pt x="540" y="22"/>
                  </a:lnTo>
                  <a:lnTo>
                    <a:pt x="540" y="37"/>
                  </a:lnTo>
                  <a:lnTo>
                    <a:pt x="543" y="41"/>
                  </a:lnTo>
                  <a:lnTo>
                    <a:pt x="564" y="44"/>
                  </a:lnTo>
                  <a:lnTo>
                    <a:pt x="579" y="53"/>
                  </a:lnTo>
                  <a:lnTo>
                    <a:pt x="613" y="53"/>
                  </a:lnTo>
                  <a:lnTo>
                    <a:pt x="621" y="69"/>
                  </a:lnTo>
                  <a:lnTo>
                    <a:pt x="609" y="81"/>
                  </a:lnTo>
                  <a:lnTo>
                    <a:pt x="613" y="106"/>
                  </a:lnTo>
                  <a:lnTo>
                    <a:pt x="604" y="134"/>
                  </a:lnTo>
                  <a:lnTo>
                    <a:pt x="613" y="175"/>
                  </a:lnTo>
                  <a:lnTo>
                    <a:pt x="613" y="246"/>
                  </a:lnTo>
                  <a:lnTo>
                    <a:pt x="613" y="246"/>
                  </a:lnTo>
                  <a:lnTo>
                    <a:pt x="613" y="246"/>
                  </a:lnTo>
                  <a:lnTo>
                    <a:pt x="613" y="246"/>
                  </a:lnTo>
                  <a:lnTo>
                    <a:pt x="613" y="246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6" name="Freeform 32">
              <a:extLst>
                <a:ext uri="{FF2B5EF4-FFF2-40B4-BE49-F238E27FC236}">
                  <a16:creationId xmlns:a16="http://schemas.microsoft.com/office/drawing/2014/main" id="{296343A2-0876-4F22-8719-DD988F2DEDC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775261" y="5690114"/>
              <a:ext cx="266518" cy="530250"/>
            </a:xfrm>
            <a:custGeom>
              <a:avLst/>
              <a:gdLst>
                <a:gd name="T0" fmla="*/ 181 w 287"/>
                <a:gd name="T1" fmla="*/ 437 h 571"/>
                <a:gd name="T2" fmla="*/ 136 w 287"/>
                <a:gd name="T3" fmla="*/ 557 h 571"/>
                <a:gd name="T4" fmla="*/ 79 w 287"/>
                <a:gd name="T5" fmla="*/ 571 h 571"/>
                <a:gd name="T6" fmla="*/ 46 w 287"/>
                <a:gd name="T7" fmla="*/ 555 h 571"/>
                <a:gd name="T8" fmla="*/ 28 w 287"/>
                <a:gd name="T9" fmla="*/ 529 h 571"/>
                <a:gd name="T10" fmla="*/ 21 w 287"/>
                <a:gd name="T11" fmla="*/ 483 h 571"/>
                <a:gd name="T12" fmla="*/ 6 w 287"/>
                <a:gd name="T13" fmla="*/ 455 h 571"/>
                <a:gd name="T14" fmla="*/ 9 w 287"/>
                <a:gd name="T15" fmla="*/ 405 h 571"/>
                <a:gd name="T16" fmla="*/ 28 w 287"/>
                <a:gd name="T17" fmla="*/ 371 h 571"/>
                <a:gd name="T18" fmla="*/ 49 w 287"/>
                <a:gd name="T19" fmla="*/ 312 h 571"/>
                <a:gd name="T20" fmla="*/ 30 w 287"/>
                <a:gd name="T21" fmla="*/ 269 h 571"/>
                <a:gd name="T22" fmla="*/ 49 w 287"/>
                <a:gd name="T23" fmla="*/ 196 h 571"/>
                <a:gd name="T24" fmla="*/ 82 w 287"/>
                <a:gd name="T25" fmla="*/ 166 h 571"/>
                <a:gd name="T26" fmla="*/ 87 w 287"/>
                <a:gd name="T27" fmla="*/ 166 h 571"/>
                <a:gd name="T28" fmla="*/ 99 w 287"/>
                <a:gd name="T29" fmla="*/ 156 h 571"/>
                <a:gd name="T30" fmla="*/ 112 w 287"/>
                <a:gd name="T31" fmla="*/ 156 h 571"/>
                <a:gd name="T32" fmla="*/ 118 w 287"/>
                <a:gd name="T33" fmla="*/ 156 h 571"/>
                <a:gd name="T34" fmla="*/ 120 w 287"/>
                <a:gd name="T35" fmla="*/ 156 h 571"/>
                <a:gd name="T36" fmla="*/ 151 w 287"/>
                <a:gd name="T37" fmla="*/ 140 h 571"/>
                <a:gd name="T38" fmla="*/ 151 w 287"/>
                <a:gd name="T39" fmla="*/ 134 h 571"/>
                <a:gd name="T40" fmla="*/ 167 w 287"/>
                <a:gd name="T41" fmla="*/ 131 h 571"/>
                <a:gd name="T42" fmla="*/ 187 w 287"/>
                <a:gd name="T43" fmla="*/ 115 h 571"/>
                <a:gd name="T44" fmla="*/ 178 w 287"/>
                <a:gd name="T45" fmla="*/ 103 h 571"/>
                <a:gd name="T46" fmla="*/ 181 w 287"/>
                <a:gd name="T47" fmla="*/ 91 h 571"/>
                <a:gd name="T48" fmla="*/ 191 w 287"/>
                <a:gd name="T49" fmla="*/ 91 h 571"/>
                <a:gd name="T50" fmla="*/ 181 w 287"/>
                <a:gd name="T51" fmla="*/ 78 h 571"/>
                <a:gd name="T52" fmla="*/ 200 w 287"/>
                <a:gd name="T53" fmla="*/ 78 h 571"/>
                <a:gd name="T54" fmla="*/ 226 w 287"/>
                <a:gd name="T55" fmla="*/ 38 h 571"/>
                <a:gd name="T56" fmla="*/ 226 w 287"/>
                <a:gd name="T57" fmla="*/ 23 h 571"/>
                <a:gd name="T58" fmla="*/ 233 w 287"/>
                <a:gd name="T59" fmla="*/ 6 h 571"/>
                <a:gd name="T60" fmla="*/ 238 w 287"/>
                <a:gd name="T61" fmla="*/ 9 h 571"/>
                <a:gd name="T62" fmla="*/ 250 w 287"/>
                <a:gd name="T63" fmla="*/ 28 h 571"/>
                <a:gd name="T64" fmla="*/ 271 w 287"/>
                <a:gd name="T65" fmla="*/ 110 h 571"/>
                <a:gd name="T66" fmla="*/ 269 w 287"/>
                <a:gd name="T67" fmla="*/ 163 h 571"/>
                <a:gd name="T68" fmla="*/ 250 w 287"/>
                <a:gd name="T69" fmla="*/ 147 h 571"/>
                <a:gd name="T70" fmla="*/ 259 w 287"/>
                <a:gd name="T71" fmla="*/ 175 h 571"/>
                <a:gd name="T72" fmla="*/ 259 w 287"/>
                <a:gd name="T73" fmla="*/ 203 h 571"/>
                <a:gd name="T74" fmla="*/ 247 w 287"/>
                <a:gd name="T75" fmla="*/ 237 h 571"/>
                <a:gd name="T76" fmla="*/ 211 w 287"/>
                <a:gd name="T77" fmla="*/ 352 h 571"/>
                <a:gd name="T78" fmla="*/ 211 w 287"/>
                <a:gd name="T79" fmla="*/ 352 h 571"/>
                <a:gd name="T80" fmla="*/ 200 w 287"/>
                <a:gd name="T81" fmla="*/ 50 h 571"/>
                <a:gd name="T82" fmla="*/ 200 w 287"/>
                <a:gd name="T83" fmla="*/ 60 h 5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7" h="571">
                  <a:moveTo>
                    <a:pt x="211" y="352"/>
                  </a:moveTo>
                  <a:lnTo>
                    <a:pt x="196" y="405"/>
                  </a:lnTo>
                  <a:lnTo>
                    <a:pt x="181" y="437"/>
                  </a:lnTo>
                  <a:lnTo>
                    <a:pt x="172" y="495"/>
                  </a:lnTo>
                  <a:lnTo>
                    <a:pt x="151" y="546"/>
                  </a:lnTo>
                  <a:lnTo>
                    <a:pt x="136" y="557"/>
                  </a:lnTo>
                  <a:lnTo>
                    <a:pt x="118" y="557"/>
                  </a:lnTo>
                  <a:lnTo>
                    <a:pt x="91" y="571"/>
                  </a:lnTo>
                  <a:lnTo>
                    <a:pt x="79" y="571"/>
                  </a:lnTo>
                  <a:lnTo>
                    <a:pt x="61" y="561"/>
                  </a:lnTo>
                  <a:lnTo>
                    <a:pt x="46" y="557"/>
                  </a:lnTo>
                  <a:lnTo>
                    <a:pt x="46" y="555"/>
                  </a:lnTo>
                  <a:lnTo>
                    <a:pt x="49" y="557"/>
                  </a:lnTo>
                  <a:lnTo>
                    <a:pt x="30" y="548"/>
                  </a:lnTo>
                  <a:lnTo>
                    <a:pt x="28" y="529"/>
                  </a:lnTo>
                  <a:lnTo>
                    <a:pt x="19" y="518"/>
                  </a:lnTo>
                  <a:lnTo>
                    <a:pt x="19" y="492"/>
                  </a:lnTo>
                  <a:lnTo>
                    <a:pt x="21" y="483"/>
                  </a:lnTo>
                  <a:lnTo>
                    <a:pt x="19" y="477"/>
                  </a:lnTo>
                  <a:lnTo>
                    <a:pt x="16" y="465"/>
                  </a:lnTo>
                  <a:lnTo>
                    <a:pt x="6" y="455"/>
                  </a:lnTo>
                  <a:lnTo>
                    <a:pt x="0" y="423"/>
                  </a:lnTo>
                  <a:lnTo>
                    <a:pt x="6" y="412"/>
                  </a:lnTo>
                  <a:lnTo>
                    <a:pt x="9" y="405"/>
                  </a:lnTo>
                  <a:lnTo>
                    <a:pt x="9" y="393"/>
                  </a:lnTo>
                  <a:lnTo>
                    <a:pt x="21" y="384"/>
                  </a:lnTo>
                  <a:lnTo>
                    <a:pt x="28" y="371"/>
                  </a:lnTo>
                  <a:lnTo>
                    <a:pt x="49" y="334"/>
                  </a:lnTo>
                  <a:lnTo>
                    <a:pt x="46" y="327"/>
                  </a:lnTo>
                  <a:lnTo>
                    <a:pt x="49" y="312"/>
                  </a:lnTo>
                  <a:lnTo>
                    <a:pt x="39" y="297"/>
                  </a:lnTo>
                  <a:lnTo>
                    <a:pt x="39" y="287"/>
                  </a:lnTo>
                  <a:lnTo>
                    <a:pt x="30" y="269"/>
                  </a:lnTo>
                  <a:lnTo>
                    <a:pt x="30" y="240"/>
                  </a:lnTo>
                  <a:lnTo>
                    <a:pt x="28" y="235"/>
                  </a:lnTo>
                  <a:lnTo>
                    <a:pt x="49" y="196"/>
                  </a:lnTo>
                  <a:lnTo>
                    <a:pt x="49" y="175"/>
                  </a:lnTo>
                  <a:lnTo>
                    <a:pt x="66" y="175"/>
                  </a:lnTo>
                  <a:lnTo>
                    <a:pt x="82" y="166"/>
                  </a:lnTo>
                  <a:lnTo>
                    <a:pt x="82" y="172"/>
                  </a:lnTo>
                  <a:lnTo>
                    <a:pt x="87" y="172"/>
                  </a:lnTo>
                  <a:lnTo>
                    <a:pt x="87" y="166"/>
                  </a:lnTo>
                  <a:lnTo>
                    <a:pt x="91" y="166"/>
                  </a:lnTo>
                  <a:lnTo>
                    <a:pt x="97" y="172"/>
                  </a:lnTo>
                  <a:lnTo>
                    <a:pt x="99" y="156"/>
                  </a:lnTo>
                  <a:lnTo>
                    <a:pt x="106" y="156"/>
                  </a:lnTo>
                  <a:lnTo>
                    <a:pt x="112" y="163"/>
                  </a:lnTo>
                  <a:lnTo>
                    <a:pt x="112" y="156"/>
                  </a:lnTo>
                  <a:lnTo>
                    <a:pt x="108" y="156"/>
                  </a:lnTo>
                  <a:lnTo>
                    <a:pt x="118" y="156"/>
                  </a:lnTo>
                  <a:lnTo>
                    <a:pt x="118" y="156"/>
                  </a:lnTo>
                  <a:lnTo>
                    <a:pt x="120" y="166"/>
                  </a:lnTo>
                  <a:lnTo>
                    <a:pt x="130" y="166"/>
                  </a:lnTo>
                  <a:lnTo>
                    <a:pt x="120" y="156"/>
                  </a:lnTo>
                  <a:lnTo>
                    <a:pt x="120" y="153"/>
                  </a:lnTo>
                  <a:lnTo>
                    <a:pt x="148" y="134"/>
                  </a:lnTo>
                  <a:lnTo>
                    <a:pt x="151" y="140"/>
                  </a:lnTo>
                  <a:lnTo>
                    <a:pt x="148" y="147"/>
                  </a:lnTo>
                  <a:lnTo>
                    <a:pt x="158" y="144"/>
                  </a:lnTo>
                  <a:lnTo>
                    <a:pt x="151" y="134"/>
                  </a:lnTo>
                  <a:lnTo>
                    <a:pt x="167" y="112"/>
                  </a:lnTo>
                  <a:lnTo>
                    <a:pt x="169" y="115"/>
                  </a:lnTo>
                  <a:lnTo>
                    <a:pt x="167" y="131"/>
                  </a:lnTo>
                  <a:lnTo>
                    <a:pt x="181" y="110"/>
                  </a:lnTo>
                  <a:lnTo>
                    <a:pt x="187" y="112"/>
                  </a:lnTo>
                  <a:lnTo>
                    <a:pt x="187" y="115"/>
                  </a:lnTo>
                  <a:lnTo>
                    <a:pt x="187" y="110"/>
                  </a:lnTo>
                  <a:lnTo>
                    <a:pt x="178" y="110"/>
                  </a:lnTo>
                  <a:lnTo>
                    <a:pt x="178" y="103"/>
                  </a:lnTo>
                  <a:lnTo>
                    <a:pt x="178" y="94"/>
                  </a:lnTo>
                  <a:lnTo>
                    <a:pt x="187" y="94"/>
                  </a:lnTo>
                  <a:lnTo>
                    <a:pt x="181" y="91"/>
                  </a:lnTo>
                  <a:lnTo>
                    <a:pt x="191" y="91"/>
                  </a:lnTo>
                  <a:lnTo>
                    <a:pt x="187" y="101"/>
                  </a:lnTo>
                  <a:lnTo>
                    <a:pt x="191" y="91"/>
                  </a:lnTo>
                  <a:lnTo>
                    <a:pt x="187" y="85"/>
                  </a:lnTo>
                  <a:lnTo>
                    <a:pt x="191" y="81"/>
                  </a:lnTo>
                  <a:lnTo>
                    <a:pt x="181" y="78"/>
                  </a:lnTo>
                  <a:lnTo>
                    <a:pt x="187" y="69"/>
                  </a:lnTo>
                  <a:lnTo>
                    <a:pt x="191" y="62"/>
                  </a:lnTo>
                  <a:lnTo>
                    <a:pt x="200" y="78"/>
                  </a:lnTo>
                  <a:lnTo>
                    <a:pt x="200" y="69"/>
                  </a:lnTo>
                  <a:lnTo>
                    <a:pt x="221" y="60"/>
                  </a:lnTo>
                  <a:lnTo>
                    <a:pt x="226" y="38"/>
                  </a:lnTo>
                  <a:lnTo>
                    <a:pt x="221" y="28"/>
                  </a:lnTo>
                  <a:lnTo>
                    <a:pt x="217" y="19"/>
                  </a:lnTo>
                  <a:lnTo>
                    <a:pt x="226" y="23"/>
                  </a:lnTo>
                  <a:lnTo>
                    <a:pt x="226" y="16"/>
                  </a:lnTo>
                  <a:lnTo>
                    <a:pt x="233" y="9"/>
                  </a:lnTo>
                  <a:lnTo>
                    <a:pt x="233" y="6"/>
                  </a:lnTo>
                  <a:lnTo>
                    <a:pt x="238" y="0"/>
                  </a:lnTo>
                  <a:lnTo>
                    <a:pt x="241" y="9"/>
                  </a:lnTo>
                  <a:lnTo>
                    <a:pt x="238" y="9"/>
                  </a:lnTo>
                  <a:lnTo>
                    <a:pt x="238" y="9"/>
                  </a:lnTo>
                  <a:lnTo>
                    <a:pt x="247" y="16"/>
                  </a:lnTo>
                  <a:lnTo>
                    <a:pt x="250" y="28"/>
                  </a:lnTo>
                  <a:lnTo>
                    <a:pt x="262" y="47"/>
                  </a:lnTo>
                  <a:lnTo>
                    <a:pt x="271" y="78"/>
                  </a:lnTo>
                  <a:lnTo>
                    <a:pt x="271" y="110"/>
                  </a:lnTo>
                  <a:lnTo>
                    <a:pt x="287" y="140"/>
                  </a:lnTo>
                  <a:lnTo>
                    <a:pt x="278" y="166"/>
                  </a:lnTo>
                  <a:lnTo>
                    <a:pt x="269" y="163"/>
                  </a:lnTo>
                  <a:lnTo>
                    <a:pt x="259" y="144"/>
                  </a:lnTo>
                  <a:lnTo>
                    <a:pt x="257" y="144"/>
                  </a:lnTo>
                  <a:lnTo>
                    <a:pt x="250" y="147"/>
                  </a:lnTo>
                  <a:lnTo>
                    <a:pt x="257" y="163"/>
                  </a:lnTo>
                  <a:lnTo>
                    <a:pt x="257" y="172"/>
                  </a:lnTo>
                  <a:lnTo>
                    <a:pt x="259" y="175"/>
                  </a:lnTo>
                  <a:lnTo>
                    <a:pt x="259" y="187"/>
                  </a:lnTo>
                  <a:lnTo>
                    <a:pt x="257" y="196"/>
                  </a:lnTo>
                  <a:lnTo>
                    <a:pt x="259" y="203"/>
                  </a:lnTo>
                  <a:lnTo>
                    <a:pt x="250" y="207"/>
                  </a:lnTo>
                  <a:lnTo>
                    <a:pt x="241" y="225"/>
                  </a:lnTo>
                  <a:lnTo>
                    <a:pt x="247" y="237"/>
                  </a:lnTo>
                  <a:lnTo>
                    <a:pt x="241" y="265"/>
                  </a:lnTo>
                  <a:lnTo>
                    <a:pt x="211" y="352"/>
                  </a:lnTo>
                  <a:lnTo>
                    <a:pt x="211" y="352"/>
                  </a:lnTo>
                  <a:lnTo>
                    <a:pt x="211" y="352"/>
                  </a:lnTo>
                  <a:lnTo>
                    <a:pt x="211" y="352"/>
                  </a:lnTo>
                  <a:lnTo>
                    <a:pt x="211" y="352"/>
                  </a:lnTo>
                  <a:close/>
                  <a:moveTo>
                    <a:pt x="200" y="60"/>
                  </a:moveTo>
                  <a:lnTo>
                    <a:pt x="196" y="60"/>
                  </a:lnTo>
                  <a:lnTo>
                    <a:pt x="200" y="50"/>
                  </a:lnTo>
                  <a:lnTo>
                    <a:pt x="200" y="60"/>
                  </a:lnTo>
                  <a:lnTo>
                    <a:pt x="200" y="60"/>
                  </a:lnTo>
                  <a:lnTo>
                    <a:pt x="200" y="60"/>
                  </a:lnTo>
                  <a:lnTo>
                    <a:pt x="200" y="60"/>
                  </a:lnTo>
                  <a:lnTo>
                    <a:pt x="200" y="60"/>
                  </a:lnTo>
                  <a:close/>
                </a:path>
              </a:pathLst>
            </a:custGeom>
            <a:solidFill>
              <a:srgbClr val="FEC057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7" name="Freeform 33">
              <a:extLst>
                <a:ext uri="{FF2B5EF4-FFF2-40B4-BE49-F238E27FC236}">
                  <a16:creationId xmlns:a16="http://schemas.microsoft.com/office/drawing/2014/main" id="{A5A7ECC7-1642-4E5F-9B3C-5E866F720CD5}"/>
                </a:ext>
              </a:extLst>
            </p:cNvPr>
            <p:cNvSpPr>
              <a:spLocks/>
            </p:cNvSpPr>
            <p:nvPr/>
          </p:nvSpPr>
          <p:spPr bwMode="gray">
            <a:xfrm>
              <a:off x="7389877" y="5592607"/>
              <a:ext cx="121651" cy="298091"/>
            </a:xfrm>
            <a:custGeom>
              <a:avLst/>
              <a:gdLst>
                <a:gd name="T0" fmla="*/ 19 w 131"/>
                <a:gd name="T1" fmla="*/ 187 h 321"/>
                <a:gd name="T2" fmla="*/ 12 w 131"/>
                <a:gd name="T3" fmla="*/ 187 h 321"/>
                <a:gd name="T4" fmla="*/ 9 w 131"/>
                <a:gd name="T5" fmla="*/ 166 h 321"/>
                <a:gd name="T6" fmla="*/ 12 w 131"/>
                <a:gd name="T7" fmla="*/ 137 h 321"/>
                <a:gd name="T8" fmla="*/ 28 w 131"/>
                <a:gd name="T9" fmla="*/ 128 h 321"/>
                <a:gd name="T10" fmla="*/ 28 w 131"/>
                <a:gd name="T11" fmla="*/ 123 h 321"/>
                <a:gd name="T12" fmla="*/ 28 w 131"/>
                <a:gd name="T13" fmla="*/ 98 h 321"/>
                <a:gd name="T14" fmla="*/ 31 w 131"/>
                <a:gd name="T15" fmla="*/ 73 h 321"/>
                <a:gd name="T16" fmla="*/ 37 w 131"/>
                <a:gd name="T17" fmla="*/ 60 h 321"/>
                <a:gd name="T18" fmla="*/ 37 w 131"/>
                <a:gd name="T19" fmla="*/ 41 h 321"/>
                <a:gd name="T20" fmla="*/ 28 w 131"/>
                <a:gd name="T21" fmla="*/ 29 h 321"/>
                <a:gd name="T22" fmla="*/ 22 w 131"/>
                <a:gd name="T23" fmla="*/ 10 h 321"/>
                <a:gd name="T24" fmla="*/ 9 w 131"/>
                <a:gd name="T25" fmla="*/ 0 h 321"/>
                <a:gd name="T26" fmla="*/ 31 w 131"/>
                <a:gd name="T27" fmla="*/ 10 h 321"/>
                <a:gd name="T28" fmla="*/ 49 w 131"/>
                <a:gd name="T29" fmla="*/ 14 h 321"/>
                <a:gd name="T30" fmla="*/ 67 w 131"/>
                <a:gd name="T31" fmla="*/ 14 h 321"/>
                <a:gd name="T32" fmla="*/ 79 w 131"/>
                <a:gd name="T33" fmla="*/ 60 h 321"/>
                <a:gd name="T34" fmla="*/ 92 w 131"/>
                <a:gd name="T35" fmla="*/ 91 h 321"/>
                <a:gd name="T36" fmla="*/ 79 w 131"/>
                <a:gd name="T37" fmla="*/ 98 h 321"/>
                <a:gd name="T38" fmla="*/ 74 w 131"/>
                <a:gd name="T39" fmla="*/ 137 h 321"/>
                <a:gd name="T40" fmla="*/ 79 w 131"/>
                <a:gd name="T41" fmla="*/ 169 h 321"/>
                <a:gd name="T42" fmla="*/ 97 w 131"/>
                <a:gd name="T43" fmla="*/ 178 h 321"/>
                <a:gd name="T44" fmla="*/ 131 w 131"/>
                <a:gd name="T45" fmla="*/ 228 h 321"/>
                <a:gd name="T46" fmla="*/ 129 w 131"/>
                <a:gd name="T47" fmla="*/ 249 h 321"/>
                <a:gd name="T48" fmla="*/ 114 w 131"/>
                <a:gd name="T49" fmla="*/ 281 h 321"/>
                <a:gd name="T50" fmla="*/ 97 w 131"/>
                <a:gd name="T51" fmla="*/ 293 h 321"/>
                <a:gd name="T52" fmla="*/ 104 w 131"/>
                <a:gd name="T53" fmla="*/ 321 h 321"/>
                <a:gd name="T54" fmla="*/ 100 w 131"/>
                <a:gd name="T55" fmla="*/ 308 h 321"/>
                <a:gd name="T56" fmla="*/ 74 w 131"/>
                <a:gd name="T57" fmla="*/ 283 h 321"/>
                <a:gd name="T58" fmla="*/ 71 w 131"/>
                <a:gd name="T59" fmla="*/ 278 h 321"/>
                <a:gd name="T60" fmla="*/ 74 w 131"/>
                <a:gd name="T61" fmla="*/ 246 h 321"/>
                <a:gd name="T62" fmla="*/ 67 w 131"/>
                <a:gd name="T63" fmla="*/ 205 h 321"/>
                <a:gd name="T64" fmla="*/ 22 w 131"/>
                <a:gd name="T65" fmla="*/ 191 h 321"/>
                <a:gd name="T66" fmla="*/ 22 w 131"/>
                <a:gd name="T67" fmla="*/ 191 h 321"/>
                <a:gd name="T68" fmla="*/ 22 w 131"/>
                <a:gd name="T69" fmla="*/ 19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1" h="321">
                  <a:moveTo>
                    <a:pt x="22" y="191"/>
                  </a:moveTo>
                  <a:lnTo>
                    <a:pt x="19" y="187"/>
                  </a:lnTo>
                  <a:lnTo>
                    <a:pt x="19" y="191"/>
                  </a:lnTo>
                  <a:lnTo>
                    <a:pt x="12" y="187"/>
                  </a:lnTo>
                  <a:lnTo>
                    <a:pt x="0" y="175"/>
                  </a:lnTo>
                  <a:lnTo>
                    <a:pt x="9" y="166"/>
                  </a:lnTo>
                  <a:lnTo>
                    <a:pt x="12" y="147"/>
                  </a:lnTo>
                  <a:lnTo>
                    <a:pt x="12" y="137"/>
                  </a:lnTo>
                  <a:lnTo>
                    <a:pt x="12" y="134"/>
                  </a:lnTo>
                  <a:lnTo>
                    <a:pt x="28" y="128"/>
                  </a:lnTo>
                  <a:lnTo>
                    <a:pt x="37" y="125"/>
                  </a:lnTo>
                  <a:lnTo>
                    <a:pt x="28" y="123"/>
                  </a:lnTo>
                  <a:lnTo>
                    <a:pt x="22" y="116"/>
                  </a:lnTo>
                  <a:lnTo>
                    <a:pt x="28" y="98"/>
                  </a:lnTo>
                  <a:lnTo>
                    <a:pt x="22" y="85"/>
                  </a:lnTo>
                  <a:lnTo>
                    <a:pt x="31" y="73"/>
                  </a:lnTo>
                  <a:lnTo>
                    <a:pt x="22" y="64"/>
                  </a:lnTo>
                  <a:lnTo>
                    <a:pt x="37" y="60"/>
                  </a:lnTo>
                  <a:lnTo>
                    <a:pt x="40" y="50"/>
                  </a:lnTo>
                  <a:lnTo>
                    <a:pt x="37" y="41"/>
                  </a:lnTo>
                  <a:lnTo>
                    <a:pt x="37" y="35"/>
                  </a:lnTo>
                  <a:lnTo>
                    <a:pt x="28" y="29"/>
                  </a:lnTo>
                  <a:lnTo>
                    <a:pt x="28" y="23"/>
                  </a:lnTo>
                  <a:lnTo>
                    <a:pt x="22" y="10"/>
                  </a:lnTo>
                  <a:lnTo>
                    <a:pt x="12" y="10"/>
                  </a:lnTo>
                  <a:lnTo>
                    <a:pt x="9" y="0"/>
                  </a:lnTo>
                  <a:lnTo>
                    <a:pt x="28" y="5"/>
                  </a:lnTo>
                  <a:lnTo>
                    <a:pt x="31" y="10"/>
                  </a:lnTo>
                  <a:lnTo>
                    <a:pt x="43" y="10"/>
                  </a:lnTo>
                  <a:lnTo>
                    <a:pt x="49" y="14"/>
                  </a:lnTo>
                  <a:lnTo>
                    <a:pt x="52" y="5"/>
                  </a:lnTo>
                  <a:lnTo>
                    <a:pt x="67" y="14"/>
                  </a:lnTo>
                  <a:lnTo>
                    <a:pt x="74" y="29"/>
                  </a:lnTo>
                  <a:lnTo>
                    <a:pt x="79" y="60"/>
                  </a:lnTo>
                  <a:lnTo>
                    <a:pt x="79" y="73"/>
                  </a:lnTo>
                  <a:lnTo>
                    <a:pt x="92" y="91"/>
                  </a:lnTo>
                  <a:lnTo>
                    <a:pt x="79" y="91"/>
                  </a:lnTo>
                  <a:lnTo>
                    <a:pt x="79" y="98"/>
                  </a:lnTo>
                  <a:lnTo>
                    <a:pt x="71" y="116"/>
                  </a:lnTo>
                  <a:lnTo>
                    <a:pt x="74" y="137"/>
                  </a:lnTo>
                  <a:lnTo>
                    <a:pt x="74" y="166"/>
                  </a:lnTo>
                  <a:lnTo>
                    <a:pt x="79" y="169"/>
                  </a:lnTo>
                  <a:lnTo>
                    <a:pt x="88" y="169"/>
                  </a:lnTo>
                  <a:lnTo>
                    <a:pt x="97" y="178"/>
                  </a:lnTo>
                  <a:lnTo>
                    <a:pt x="129" y="219"/>
                  </a:lnTo>
                  <a:lnTo>
                    <a:pt x="131" y="228"/>
                  </a:lnTo>
                  <a:lnTo>
                    <a:pt x="122" y="239"/>
                  </a:lnTo>
                  <a:lnTo>
                    <a:pt x="129" y="249"/>
                  </a:lnTo>
                  <a:lnTo>
                    <a:pt x="129" y="271"/>
                  </a:lnTo>
                  <a:lnTo>
                    <a:pt x="114" y="281"/>
                  </a:lnTo>
                  <a:lnTo>
                    <a:pt x="109" y="278"/>
                  </a:lnTo>
                  <a:lnTo>
                    <a:pt x="97" y="293"/>
                  </a:lnTo>
                  <a:lnTo>
                    <a:pt x="104" y="303"/>
                  </a:lnTo>
                  <a:lnTo>
                    <a:pt x="104" y="321"/>
                  </a:lnTo>
                  <a:lnTo>
                    <a:pt x="97" y="321"/>
                  </a:lnTo>
                  <a:lnTo>
                    <a:pt x="100" y="308"/>
                  </a:lnTo>
                  <a:lnTo>
                    <a:pt x="92" y="308"/>
                  </a:lnTo>
                  <a:lnTo>
                    <a:pt x="74" y="283"/>
                  </a:lnTo>
                  <a:lnTo>
                    <a:pt x="71" y="283"/>
                  </a:lnTo>
                  <a:lnTo>
                    <a:pt x="71" y="278"/>
                  </a:lnTo>
                  <a:lnTo>
                    <a:pt x="61" y="268"/>
                  </a:lnTo>
                  <a:lnTo>
                    <a:pt x="74" y="246"/>
                  </a:lnTo>
                  <a:lnTo>
                    <a:pt x="74" y="215"/>
                  </a:lnTo>
                  <a:lnTo>
                    <a:pt x="67" y="205"/>
                  </a:lnTo>
                  <a:lnTo>
                    <a:pt x="40" y="215"/>
                  </a:lnTo>
                  <a:lnTo>
                    <a:pt x="22" y="191"/>
                  </a:lnTo>
                  <a:lnTo>
                    <a:pt x="22" y="191"/>
                  </a:lnTo>
                  <a:lnTo>
                    <a:pt x="22" y="191"/>
                  </a:lnTo>
                  <a:lnTo>
                    <a:pt x="22" y="191"/>
                  </a:lnTo>
                  <a:lnTo>
                    <a:pt x="22" y="191"/>
                  </a:lnTo>
                  <a:close/>
                </a:path>
              </a:pathLst>
            </a:custGeom>
            <a:solidFill>
              <a:srgbClr val="FEC057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8" name="Freeform 34">
              <a:extLst>
                <a:ext uri="{FF2B5EF4-FFF2-40B4-BE49-F238E27FC236}">
                  <a16:creationId xmlns:a16="http://schemas.microsoft.com/office/drawing/2014/main" id="{1CC92A31-27B1-4F17-9607-413F1432D470}"/>
                </a:ext>
              </a:extLst>
            </p:cNvPr>
            <p:cNvSpPr>
              <a:spLocks/>
            </p:cNvSpPr>
            <p:nvPr/>
          </p:nvSpPr>
          <p:spPr bwMode="gray">
            <a:xfrm>
              <a:off x="5752694" y="4287876"/>
              <a:ext cx="600826" cy="571110"/>
            </a:xfrm>
            <a:custGeom>
              <a:avLst/>
              <a:gdLst>
                <a:gd name="T0" fmla="*/ 73 w 647"/>
                <a:gd name="T1" fmla="*/ 529 h 615"/>
                <a:gd name="T2" fmla="*/ 49 w 647"/>
                <a:gd name="T3" fmla="*/ 529 h 615"/>
                <a:gd name="T4" fmla="*/ 31 w 647"/>
                <a:gd name="T5" fmla="*/ 529 h 615"/>
                <a:gd name="T6" fmla="*/ 38 w 647"/>
                <a:gd name="T7" fmla="*/ 497 h 615"/>
                <a:gd name="T8" fmla="*/ 18 w 647"/>
                <a:gd name="T9" fmla="*/ 483 h 615"/>
                <a:gd name="T10" fmla="*/ 7 w 647"/>
                <a:gd name="T11" fmla="*/ 474 h 615"/>
                <a:gd name="T12" fmla="*/ 10 w 647"/>
                <a:gd name="T13" fmla="*/ 451 h 615"/>
                <a:gd name="T14" fmla="*/ 0 w 647"/>
                <a:gd name="T15" fmla="*/ 423 h 615"/>
                <a:gd name="T16" fmla="*/ 13 w 647"/>
                <a:gd name="T17" fmla="*/ 423 h 615"/>
                <a:gd name="T18" fmla="*/ 31 w 647"/>
                <a:gd name="T19" fmla="*/ 389 h 615"/>
                <a:gd name="T20" fmla="*/ 61 w 647"/>
                <a:gd name="T21" fmla="*/ 398 h 615"/>
                <a:gd name="T22" fmla="*/ 110 w 647"/>
                <a:gd name="T23" fmla="*/ 398 h 615"/>
                <a:gd name="T24" fmla="*/ 113 w 647"/>
                <a:gd name="T25" fmla="*/ 389 h 615"/>
                <a:gd name="T26" fmla="*/ 263 w 647"/>
                <a:gd name="T27" fmla="*/ 398 h 615"/>
                <a:gd name="T28" fmla="*/ 261 w 647"/>
                <a:gd name="T29" fmla="*/ 352 h 615"/>
                <a:gd name="T30" fmla="*/ 221 w 647"/>
                <a:gd name="T31" fmla="*/ 0 h 615"/>
                <a:gd name="T32" fmla="*/ 527 w 647"/>
                <a:gd name="T33" fmla="*/ 163 h 615"/>
                <a:gd name="T34" fmla="*/ 546 w 647"/>
                <a:gd name="T35" fmla="*/ 185 h 615"/>
                <a:gd name="T36" fmla="*/ 562 w 647"/>
                <a:gd name="T37" fmla="*/ 197 h 615"/>
                <a:gd name="T38" fmla="*/ 575 w 647"/>
                <a:gd name="T39" fmla="*/ 207 h 615"/>
                <a:gd name="T40" fmla="*/ 612 w 647"/>
                <a:gd name="T41" fmla="*/ 234 h 615"/>
                <a:gd name="T42" fmla="*/ 612 w 647"/>
                <a:gd name="T43" fmla="*/ 251 h 615"/>
                <a:gd name="T44" fmla="*/ 645 w 647"/>
                <a:gd name="T45" fmla="*/ 358 h 615"/>
                <a:gd name="T46" fmla="*/ 632 w 647"/>
                <a:gd name="T47" fmla="*/ 389 h 615"/>
                <a:gd name="T48" fmla="*/ 617 w 647"/>
                <a:gd name="T49" fmla="*/ 402 h 615"/>
                <a:gd name="T50" fmla="*/ 595 w 647"/>
                <a:gd name="T51" fmla="*/ 402 h 615"/>
                <a:gd name="T52" fmla="*/ 520 w 647"/>
                <a:gd name="T53" fmla="*/ 414 h 615"/>
                <a:gd name="T54" fmla="*/ 490 w 647"/>
                <a:gd name="T55" fmla="*/ 420 h 615"/>
                <a:gd name="T56" fmla="*/ 466 w 647"/>
                <a:gd name="T57" fmla="*/ 414 h 615"/>
                <a:gd name="T58" fmla="*/ 451 w 647"/>
                <a:gd name="T59" fmla="*/ 414 h 615"/>
                <a:gd name="T60" fmla="*/ 430 w 647"/>
                <a:gd name="T61" fmla="*/ 430 h 615"/>
                <a:gd name="T62" fmla="*/ 402 w 647"/>
                <a:gd name="T63" fmla="*/ 435 h 615"/>
                <a:gd name="T64" fmla="*/ 400 w 647"/>
                <a:gd name="T65" fmla="*/ 451 h 615"/>
                <a:gd name="T66" fmla="*/ 369 w 647"/>
                <a:gd name="T67" fmla="*/ 454 h 615"/>
                <a:gd name="T68" fmla="*/ 351 w 647"/>
                <a:gd name="T69" fmla="*/ 467 h 615"/>
                <a:gd name="T70" fmla="*/ 346 w 647"/>
                <a:gd name="T71" fmla="*/ 485 h 615"/>
                <a:gd name="T72" fmla="*/ 324 w 647"/>
                <a:gd name="T73" fmla="*/ 476 h 615"/>
                <a:gd name="T74" fmla="*/ 315 w 647"/>
                <a:gd name="T75" fmla="*/ 504 h 615"/>
                <a:gd name="T76" fmla="*/ 303 w 647"/>
                <a:gd name="T77" fmla="*/ 507 h 615"/>
                <a:gd name="T78" fmla="*/ 309 w 647"/>
                <a:gd name="T79" fmla="*/ 525 h 615"/>
                <a:gd name="T80" fmla="*/ 280 w 647"/>
                <a:gd name="T81" fmla="*/ 538 h 615"/>
                <a:gd name="T82" fmla="*/ 280 w 647"/>
                <a:gd name="T83" fmla="*/ 559 h 615"/>
                <a:gd name="T84" fmla="*/ 263 w 647"/>
                <a:gd name="T85" fmla="*/ 578 h 615"/>
                <a:gd name="T86" fmla="*/ 263 w 647"/>
                <a:gd name="T87" fmla="*/ 600 h 615"/>
                <a:gd name="T88" fmla="*/ 243 w 647"/>
                <a:gd name="T89" fmla="*/ 615 h 615"/>
                <a:gd name="T90" fmla="*/ 240 w 647"/>
                <a:gd name="T91" fmla="*/ 609 h 615"/>
                <a:gd name="T92" fmla="*/ 230 w 647"/>
                <a:gd name="T93" fmla="*/ 591 h 615"/>
                <a:gd name="T94" fmla="*/ 221 w 647"/>
                <a:gd name="T95" fmla="*/ 591 h 615"/>
                <a:gd name="T96" fmla="*/ 210 w 647"/>
                <a:gd name="T97" fmla="*/ 606 h 615"/>
                <a:gd name="T98" fmla="*/ 181 w 647"/>
                <a:gd name="T99" fmla="*/ 600 h 615"/>
                <a:gd name="T100" fmla="*/ 164 w 647"/>
                <a:gd name="T101" fmla="*/ 615 h 615"/>
                <a:gd name="T102" fmla="*/ 157 w 647"/>
                <a:gd name="T103" fmla="*/ 600 h 615"/>
                <a:gd name="T104" fmla="*/ 148 w 647"/>
                <a:gd name="T105" fmla="*/ 578 h 615"/>
                <a:gd name="T106" fmla="*/ 152 w 647"/>
                <a:gd name="T107" fmla="*/ 566 h 615"/>
                <a:gd name="T108" fmla="*/ 141 w 647"/>
                <a:gd name="T109" fmla="*/ 554 h 615"/>
                <a:gd name="T110" fmla="*/ 134 w 647"/>
                <a:gd name="T111" fmla="*/ 545 h 615"/>
                <a:gd name="T112" fmla="*/ 127 w 647"/>
                <a:gd name="T113" fmla="*/ 522 h 615"/>
                <a:gd name="T114" fmla="*/ 113 w 647"/>
                <a:gd name="T115" fmla="*/ 529 h 615"/>
                <a:gd name="T116" fmla="*/ 101 w 647"/>
                <a:gd name="T117" fmla="*/ 538 h 615"/>
                <a:gd name="T118" fmla="*/ 91 w 647"/>
                <a:gd name="T119" fmla="*/ 538 h 615"/>
                <a:gd name="T120" fmla="*/ 91 w 647"/>
                <a:gd name="T121" fmla="*/ 538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47" h="615">
                  <a:moveTo>
                    <a:pt x="91" y="538"/>
                  </a:moveTo>
                  <a:lnTo>
                    <a:pt x="73" y="529"/>
                  </a:lnTo>
                  <a:lnTo>
                    <a:pt x="61" y="545"/>
                  </a:lnTo>
                  <a:lnTo>
                    <a:pt x="49" y="529"/>
                  </a:lnTo>
                  <a:lnTo>
                    <a:pt x="40" y="538"/>
                  </a:lnTo>
                  <a:lnTo>
                    <a:pt x="31" y="529"/>
                  </a:lnTo>
                  <a:lnTo>
                    <a:pt x="38" y="522"/>
                  </a:lnTo>
                  <a:lnTo>
                    <a:pt x="38" y="497"/>
                  </a:lnTo>
                  <a:lnTo>
                    <a:pt x="21" y="483"/>
                  </a:lnTo>
                  <a:lnTo>
                    <a:pt x="18" y="483"/>
                  </a:lnTo>
                  <a:lnTo>
                    <a:pt x="18" y="485"/>
                  </a:lnTo>
                  <a:lnTo>
                    <a:pt x="7" y="474"/>
                  </a:lnTo>
                  <a:lnTo>
                    <a:pt x="10" y="464"/>
                  </a:lnTo>
                  <a:lnTo>
                    <a:pt x="10" y="451"/>
                  </a:lnTo>
                  <a:lnTo>
                    <a:pt x="0" y="442"/>
                  </a:lnTo>
                  <a:lnTo>
                    <a:pt x="0" y="423"/>
                  </a:lnTo>
                  <a:lnTo>
                    <a:pt x="7" y="430"/>
                  </a:lnTo>
                  <a:lnTo>
                    <a:pt x="13" y="423"/>
                  </a:lnTo>
                  <a:lnTo>
                    <a:pt x="21" y="393"/>
                  </a:lnTo>
                  <a:lnTo>
                    <a:pt x="31" y="389"/>
                  </a:lnTo>
                  <a:lnTo>
                    <a:pt x="52" y="412"/>
                  </a:lnTo>
                  <a:lnTo>
                    <a:pt x="61" y="398"/>
                  </a:lnTo>
                  <a:lnTo>
                    <a:pt x="89" y="402"/>
                  </a:lnTo>
                  <a:lnTo>
                    <a:pt x="110" y="398"/>
                  </a:lnTo>
                  <a:lnTo>
                    <a:pt x="110" y="393"/>
                  </a:lnTo>
                  <a:lnTo>
                    <a:pt x="113" y="389"/>
                  </a:lnTo>
                  <a:lnTo>
                    <a:pt x="113" y="398"/>
                  </a:lnTo>
                  <a:lnTo>
                    <a:pt x="263" y="398"/>
                  </a:lnTo>
                  <a:lnTo>
                    <a:pt x="273" y="361"/>
                  </a:lnTo>
                  <a:lnTo>
                    <a:pt x="261" y="352"/>
                  </a:lnTo>
                  <a:lnTo>
                    <a:pt x="230" y="83"/>
                  </a:lnTo>
                  <a:lnTo>
                    <a:pt x="221" y="0"/>
                  </a:lnTo>
                  <a:lnTo>
                    <a:pt x="291" y="0"/>
                  </a:lnTo>
                  <a:lnTo>
                    <a:pt x="527" y="163"/>
                  </a:lnTo>
                  <a:lnTo>
                    <a:pt x="527" y="175"/>
                  </a:lnTo>
                  <a:lnTo>
                    <a:pt x="546" y="185"/>
                  </a:lnTo>
                  <a:lnTo>
                    <a:pt x="551" y="193"/>
                  </a:lnTo>
                  <a:lnTo>
                    <a:pt x="562" y="197"/>
                  </a:lnTo>
                  <a:lnTo>
                    <a:pt x="566" y="197"/>
                  </a:lnTo>
                  <a:lnTo>
                    <a:pt x="575" y="207"/>
                  </a:lnTo>
                  <a:lnTo>
                    <a:pt x="605" y="216"/>
                  </a:lnTo>
                  <a:lnTo>
                    <a:pt x="612" y="234"/>
                  </a:lnTo>
                  <a:lnTo>
                    <a:pt x="602" y="244"/>
                  </a:lnTo>
                  <a:lnTo>
                    <a:pt x="612" y="251"/>
                  </a:lnTo>
                  <a:lnTo>
                    <a:pt x="647" y="244"/>
                  </a:lnTo>
                  <a:lnTo>
                    <a:pt x="645" y="358"/>
                  </a:lnTo>
                  <a:lnTo>
                    <a:pt x="642" y="361"/>
                  </a:lnTo>
                  <a:lnTo>
                    <a:pt x="632" y="389"/>
                  </a:lnTo>
                  <a:lnTo>
                    <a:pt x="617" y="393"/>
                  </a:lnTo>
                  <a:lnTo>
                    <a:pt x="617" y="402"/>
                  </a:lnTo>
                  <a:lnTo>
                    <a:pt x="602" y="398"/>
                  </a:lnTo>
                  <a:lnTo>
                    <a:pt x="595" y="402"/>
                  </a:lnTo>
                  <a:lnTo>
                    <a:pt x="532" y="405"/>
                  </a:lnTo>
                  <a:lnTo>
                    <a:pt x="520" y="414"/>
                  </a:lnTo>
                  <a:lnTo>
                    <a:pt x="490" y="414"/>
                  </a:lnTo>
                  <a:lnTo>
                    <a:pt x="490" y="420"/>
                  </a:lnTo>
                  <a:lnTo>
                    <a:pt x="473" y="414"/>
                  </a:lnTo>
                  <a:lnTo>
                    <a:pt x="466" y="414"/>
                  </a:lnTo>
                  <a:lnTo>
                    <a:pt x="463" y="414"/>
                  </a:lnTo>
                  <a:lnTo>
                    <a:pt x="451" y="414"/>
                  </a:lnTo>
                  <a:lnTo>
                    <a:pt x="436" y="423"/>
                  </a:lnTo>
                  <a:lnTo>
                    <a:pt x="430" y="430"/>
                  </a:lnTo>
                  <a:lnTo>
                    <a:pt x="415" y="435"/>
                  </a:lnTo>
                  <a:lnTo>
                    <a:pt x="402" y="435"/>
                  </a:lnTo>
                  <a:lnTo>
                    <a:pt x="402" y="451"/>
                  </a:lnTo>
                  <a:lnTo>
                    <a:pt x="400" y="451"/>
                  </a:lnTo>
                  <a:lnTo>
                    <a:pt x="384" y="445"/>
                  </a:lnTo>
                  <a:lnTo>
                    <a:pt x="369" y="454"/>
                  </a:lnTo>
                  <a:lnTo>
                    <a:pt x="369" y="474"/>
                  </a:lnTo>
                  <a:lnTo>
                    <a:pt x="351" y="467"/>
                  </a:lnTo>
                  <a:lnTo>
                    <a:pt x="355" y="485"/>
                  </a:lnTo>
                  <a:lnTo>
                    <a:pt x="346" y="485"/>
                  </a:lnTo>
                  <a:lnTo>
                    <a:pt x="346" y="492"/>
                  </a:lnTo>
                  <a:lnTo>
                    <a:pt x="324" y="476"/>
                  </a:lnTo>
                  <a:lnTo>
                    <a:pt x="313" y="495"/>
                  </a:lnTo>
                  <a:lnTo>
                    <a:pt x="315" y="504"/>
                  </a:lnTo>
                  <a:lnTo>
                    <a:pt x="313" y="507"/>
                  </a:lnTo>
                  <a:lnTo>
                    <a:pt x="303" y="507"/>
                  </a:lnTo>
                  <a:lnTo>
                    <a:pt x="309" y="516"/>
                  </a:lnTo>
                  <a:lnTo>
                    <a:pt x="309" y="525"/>
                  </a:lnTo>
                  <a:lnTo>
                    <a:pt x="301" y="535"/>
                  </a:lnTo>
                  <a:lnTo>
                    <a:pt x="280" y="538"/>
                  </a:lnTo>
                  <a:lnTo>
                    <a:pt x="273" y="545"/>
                  </a:lnTo>
                  <a:lnTo>
                    <a:pt x="280" y="559"/>
                  </a:lnTo>
                  <a:lnTo>
                    <a:pt x="273" y="575"/>
                  </a:lnTo>
                  <a:lnTo>
                    <a:pt x="263" y="578"/>
                  </a:lnTo>
                  <a:lnTo>
                    <a:pt x="270" y="587"/>
                  </a:lnTo>
                  <a:lnTo>
                    <a:pt x="263" y="600"/>
                  </a:lnTo>
                  <a:lnTo>
                    <a:pt x="251" y="606"/>
                  </a:lnTo>
                  <a:lnTo>
                    <a:pt x="243" y="615"/>
                  </a:lnTo>
                  <a:lnTo>
                    <a:pt x="240" y="615"/>
                  </a:lnTo>
                  <a:lnTo>
                    <a:pt x="240" y="609"/>
                  </a:lnTo>
                  <a:lnTo>
                    <a:pt x="233" y="591"/>
                  </a:lnTo>
                  <a:lnTo>
                    <a:pt x="230" y="591"/>
                  </a:lnTo>
                  <a:lnTo>
                    <a:pt x="230" y="597"/>
                  </a:lnTo>
                  <a:lnTo>
                    <a:pt x="221" y="591"/>
                  </a:lnTo>
                  <a:lnTo>
                    <a:pt x="221" y="606"/>
                  </a:lnTo>
                  <a:lnTo>
                    <a:pt x="210" y="606"/>
                  </a:lnTo>
                  <a:lnTo>
                    <a:pt x="203" y="615"/>
                  </a:lnTo>
                  <a:lnTo>
                    <a:pt x="181" y="600"/>
                  </a:lnTo>
                  <a:lnTo>
                    <a:pt x="174" y="615"/>
                  </a:lnTo>
                  <a:lnTo>
                    <a:pt x="164" y="615"/>
                  </a:lnTo>
                  <a:lnTo>
                    <a:pt x="164" y="606"/>
                  </a:lnTo>
                  <a:lnTo>
                    <a:pt x="157" y="600"/>
                  </a:lnTo>
                  <a:lnTo>
                    <a:pt x="157" y="578"/>
                  </a:lnTo>
                  <a:lnTo>
                    <a:pt x="148" y="578"/>
                  </a:lnTo>
                  <a:lnTo>
                    <a:pt x="141" y="584"/>
                  </a:lnTo>
                  <a:lnTo>
                    <a:pt x="152" y="566"/>
                  </a:lnTo>
                  <a:lnTo>
                    <a:pt x="141" y="559"/>
                  </a:lnTo>
                  <a:lnTo>
                    <a:pt x="141" y="554"/>
                  </a:lnTo>
                  <a:lnTo>
                    <a:pt x="134" y="554"/>
                  </a:lnTo>
                  <a:lnTo>
                    <a:pt x="134" y="545"/>
                  </a:lnTo>
                  <a:lnTo>
                    <a:pt x="127" y="529"/>
                  </a:lnTo>
                  <a:lnTo>
                    <a:pt x="127" y="522"/>
                  </a:lnTo>
                  <a:lnTo>
                    <a:pt x="113" y="522"/>
                  </a:lnTo>
                  <a:lnTo>
                    <a:pt x="113" y="529"/>
                  </a:lnTo>
                  <a:lnTo>
                    <a:pt x="101" y="535"/>
                  </a:lnTo>
                  <a:lnTo>
                    <a:pt x="101" y="538"/>
                  </a:lnTo>
                  <a:lnTo>
                    <a:pt x="91" y="538"/>
                  </a:lnTo>
                  <a:lnTo>
                    <a:pt x="91" y="538"/>
                  </a:lnTo>
                  <a:lnTo>
                    <a:pt x="91" y="538"/>
                  </a:lnTo>
                  <a:lnTo>
                    <a:pt x="91" y="538"/>
                  </a:lnTo>
                  <a:lnTo>
                    <a:pt x="91" y="53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49" name="Freeform 35">
              <a:extLst>
                <a:ext uri="{FF2B5EF4-FFF2-40B4-BE49-F238E27FC236}">
                  <a16:creationId xmlns:a16="http://schemas.microsoft.com/office/drawing/2014/main" id="{7D3851CA-C343-49AD-958D-97EE907726B7}"/>
                </a:ext>
              </a:extLst>
            </p:cNvPr>
            <p:cNvSpPr>
              <a:spLocks/>
            </p:cNvSpPr>
            <p:nvPr/>
          </p:nvSpPr>
          <p:spPr bwMode="gray">
            <a:xfrm>
              <a:off x="5716477" y="3834703"/>
              <a:ext cx="445745" cy="343595"/>
            </a:xfrm>
            <a:custGeom>
              <a:avLst/>
              <a:gdLst>
                <a:gd name="T0" fmla="*/ 367 w 480"/>
                <a:gd name="T1" fmla="*/ 195 h 370"/>
                <a:gd name="T2" fmla="*/ 377 w 480"/>
                <a:gd name="T3" fmla="*/ 218 h 370"/>
                <a:gd name="T4" fmla="*/ 359 w 480"/>
                <a:gd name="T5" fmla="*/ 225 h 370"/>
                <a:gd name="T6" fmla="*/ 322 w 480"/>
                <a:gd name="T7" fmla="*/ 247 h 370"/>
                <a:gd name="T8" fmla="*/ 301 w 480"/>
                <a:gd name="T9" fmla="*/ 271 h 370"/>
                <a:gd name="T10" fmla="*/ 259 w 480"/>
                <a:gd name="T11" fmla="*/ 287 h 370"/>
                <a:gd name="T12" fmla="*/ 177 w 480"/>
                <a:gd name="T13" fmla="*/ 322 h 370"/>
                <a:gd name="T14" fmla="*/ 0 w 480"/>
                <a:gd name="T15" fmla="*/ 370 h 370"/>
                <a:gd name="T16" fmla="*/ 45 w 480"/>
                <a:gd name="T17" fmla="*/ 352 h 370"/>
                <a:gd name="T18" fmla="*/ 80 w 480"/>
                <a:gd name="T19" fmla="*/ 322 h 370"/>
                <a:gd name="T20" fmla="*/ 117 w 480"/>
                <a:gd name="T21" fmla="*/ 294 h 370"/>
                <a:gd name="T22" fmla="*/ 141 w 480"/>
                <a:gd name="T23" fmla="*/ 247 h 370"/>
                <a:gd name="T24" fmla="*/ 134 w 480"/>
                <a:gd name="T25" fmla="*/ 207 h 370"/>
                <a:gd name="T26" fmla="*/ 156 w 480"/>
                <a:gd name="T27" fmla="*/ 170 h 370"/>
                <a:gd name="T28" fmla="*/ 181 w 480"/>
                <a:gd name="T29" fmla="*/ 124 h 370"/>
                <a:gd name="T30" fmla="*/ 250 w 480"/>
                <a:gd name="T31" fmla="*/ 87 h 370"/>
                <a:gd name="T32" fmla="*/ 287 w 480"/>
                <a:gd name="T33" fmla="*/ 9 h 370"/>
                <a:gd name="T34" fmla="*/ 308 w 480"/>
                <a:gd name="T35" fmla="*/ 2 h 370"/>
                <a:gd name="T36" fmla="*/ 331 w 480"/>
                <a:gd name="T37" fmla="*/ 34 h 370"/>
                <a:gd name="T38" fmla="*/ 377 w 480"/>
                <a:gd name="T39" fmla="*/ 30 h 370"/>
                <a:gd name="T40" fmla="*/ 398 w 480"/>
                <a:gd name="T41" fmla="*/ 30 h 370"/>
                <a:gd name="T42" fmla="*/ 402 w 480"/>
                <a:gd name="T43" fmla="*/ 30 h 370"/>
                <a:gd name="T44" fmla="*/ 407 w 480"/>
                <a:gd name="T45" fmla="*/ 39 h 370"/>
                <a:gd name="T46" fmla="*/ 407 w 480"/>
                <a:gd name="T47" fmla="*/ 30 h 370"/>
                <a:gd name="T48" fmla="*/ 431 w 480"/>
                <a:gd name="T49" fmla="*/ 39 h 370"/>
                <a:gd name="T50" fmla="*/ 444 w 480"/>
                <a:gd name="T51" fmla="*/ 62 h 370"/>
                <a:gd name="T52" fmla="*/ 450 w 480"/>
                <a:gd name="T53" fmla="*/ 71 h 370"/>
                <a:gd name="T54" fmla="*/ 450 w 480"/>
                <a:gd name="T55" fmla="*/ 101 h 370"/>
                <a:gd name="T56" fmla="*/ 452 w 480"/>
                <a:gd name="T57" fmla="*/ 124 h 370"/>
                <a:gd name="T58" fmla="*/ 459 w 480"/>
                <a:gd name="T59" fmla="*/ 136 h 370"/>
                <a:gd name="T60" fmla="*/ 480 w 480"/>
                <a:gd name="T61" fmla="*/ 154 h 370"/>
                <a:gd name="T62" fmla="*/ 468 w 480"/>
                <a:gd name="T63" fmla="*/ 170 h 370"/>
                <a:gd name="T64" fmla="*/ 470 w 480"/>
                <a:gd name="T65" fmla="*/ 177 h 370"/>
                <a:gd name="T66" fmla="*/ 407 w 480"/>
                <a:gd name="T67" fmla="*/ 177 h 370"/>
                <a:gd name="T68" fmla="*/ 384 w 480"/>
                <a:gd name="T69" fmla="*/ 188 h 370"/>
                <a:gd name="T70" fmla="*/ 384 w 480"/>
                <a:gd name="T71" fmla="*/ 188 h 370"/>
                <a:gd name="T72" fmla="*/ 384 w 480"/>
                <a:gd name="T73" fmla="*/ 188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80" h="370">
                  <a:moveTo>
                    <a:pt x="384" y="188"/>
                  </a:moveTo>
                  <a:lnTo>
                    <a:pt x="367" y="195"/>
                  </a:lnTo>
                  <a:lnTo>
                    <a:pt x="367" y="216"/>
                  </a:lnTo>
                  <a:lnTo>
                    <a:pt x="377" y="218"/>
                  </a:lnTo>
                  <a:lnTo>
                    <a:pt x="377" y="225"/>
                  </a:lnTo>
                  <a:lnTo>
                    <a:pt x="359" y="225"/>
                  </a:lnTo>
                  <a:lnTo>
                    <a:pt x="346" y="238"/>
                  </a:lnTo>
                  <a:lnTo>
                    <a:pt x="322" y="247"/>
                  </a:lnTo>
                  <a:lnTo>
                    <a:pt x="311" y="262"/>
                  </a:lnTo>
                  <a:lnTo>
                    <a:pt x="301" y="271"/>
                  </a:lnTo>
                  <a:lnTo>
                    <a:pt x="268" y="278"/>
                  </a:lnTo>
                  <a:lnTo>
                    <a:pt x="259" y="287"/>
                  </a:lnTo>
                  <a:lnTo>
                    <a:pt x="238" y="280"/>
                  </a:lnTo>
                  <a:lnTo>
                    <a:pt x="177" y="322"/>
                  </a:lnTo>
                  <a:lnTo>
                    <a:pt x="177" y="370"/>
                  </a:lnTo>
                  <a:lnTo>
                    <a:pt x="0" y="370"/>
                  </a:lnTo>
                  <a:lnTo>
                    <a:pt x="14" y="356"/>
                  </a:lnTo>
                  <a:lnTo>
                    <a:pt x="45" y="352"/>
                  </a:lnTo>
                  <a:lnTo>
                    <a:pt x="66" y="340"/>
                  </a:lnTo>
                  <a:lnTo>
                    <a:pt x="80" y="322"/>
                  </a:lnTo>
                  <a:lnTo>
                    <a:pt x="105" y="312"/>
                  </a:lnTo>
                  <a:lnTo>
                    <a:pt x="117" y="294"/>
                  </a:lnTo>
                  <a:lnTo>
                    <a:pt x="139" y="260"/>
                  </a:lnTo>
                  <a:lnTo>
                    <a:pt x="141" y="247"/>
                  </a:lnTo>
                  <a:lnTo>
                    <a:pt x="134" y="238"/>
                  </a:lnTo>
                  <a:lnTo>
                    <a:pt x="134" y="207"/>
                  </a:lnTo>
                  <a:lnTo>
                    <a:pt x="139" y="188"/>
                  </a:lnTo>
                  <a:lnTo>
                    <a:pt x="156" y="170"/>
                  </a:lnTo>
                  <a:lnTo>
                    <a:pt x="156" y="154"/>
                  </a:lnTo>
                  <a:lnTo>
                    <a:pt x="181" y="124"/>
                  </a:lnTo>
                  <a:lnTo>
                    <a:pt x="226" y="105"/>
                  </a:lnTo>
                  <a:lnTo>
                    <a:pt x="250" y="87"/>
                  </a:lnTo>
                  <a:lnTo>
                    <a:pt x="271" y="53"/>
                  </a:lnTo>
                  <a:lnTo>
                    <a:pt x="287" y="9"/>
                  </a:lnTo>
                  <a:lnTo>
                    <a:pt x="308" y="0"/>
                  </a:lnTo>
                  <a:lnTo>
                    <a:pt x="308" y="2"/>
                  </a:lnTo>
                  <a:lnTo>
                    <a:pt x="311" y="16"/>
                  </a:lnTo>
                  <a:lnTo>
                    <a:pt x="331" y="34"/>
                  </a:lnTo>
                  <a:lnTo>
                    <a:pt x="346" y="34"/>
                  </a:lnTo>
                  <a:lnTo>
                    <a:pt x="377" y="30"/>
                  </a:lnTo>
                  <a:lnTo>
                    <a:pt x="389" y="34"/>
                  </a:lnTo>
                  <a:lnTo>
                    <a:pt x="398" y="30"/>
                  </a:lnTo>
                  <a:lnTo>
                    <a:pt x="402" y="25"/>
                  </a:lnTo>
                  <a:lnTo>
                    <a:pt x="402" y="30"/>
                  </a:lnTo>
                  <a:lnTo>
                    <a:pt x="402" y="30"/>
                  </a:lnTo>
                  <a:lnTo>
                    <a:pt x="407" y="39"/>
                  </a:lnTo>
                  <a:lnTo>
                    <a:pt x="410" y="39"/>
                  </a:lnTo>
                  <a:lnTo>
                    <a:pt x="407" y="30"/>
                  </a:lnTo>
                  <a:lnTo>
                    <a:pt x="414" y="39"/>
                  </a:lnTo>
                  <a:lnTo>
                    <a:pt x="431" y="39"/>
                  </a:lnTo>
                  <a:lnTo>
                    <a:pt x="450" y="55"/>
                  </a:lnTo>
                  <a:lnTo>
                    <a:pt x="444" y="62"/>
                  </a:lnTo>
                  <a:lnTo>
                    <a:pt x="452" y="64"/>
                  </a:lnTo>
                  <a:lnTo>
                    <a:pt x="450" y="71"/>
                  </a:lnTo>
                  <a:lnTo>
                    <a:pt x="452" y="83"/>
                  </a:lnTo>
                  <a:lnTo>
                    <a:pt x="450" y="101"/>
                  </a:lnTo>
                  <a:lnTo>
                    <a:pt x="452" y="105"/>
                  </a:lnTo>
                  <a:lnTo>
                    <a:pt x="452" y="124"/>
                  </a:lnTo>
                  <a:lnTo>
                    <a:pt x="461" y="133"/>
                  </a:lnTo>
                  <a:lnTo>
                    <a:pt x="459" y="136"/>
                  </a:lnTo>
                  <a:lnTo>
                    <a:pt x="461" y="145"/>
                  </a:lnTo>
                  <a:lnTo>
                    <a:pt x="480" y="154"/>
                  </a:lnTo>
                  <a:lnTo>
                    <a:pt x="470" y="163"/>
                  </a:lnTo>
                  <a:lnTo>
                    <a:pt x="468" y="170"/>
                  </a:lnTo>
                  <a:lnTo>
                    <a:pt x="470" y="170"/>
                  </a:lnTo>
                  <a:lnTo>
                    <a:pt x="470" y="177"/>
                  </a:lnTo>
                  <a:lnTo>
                    <a:pt x="428" y="170"/>
                  </a:lnTo>
                  <a:lnTo>
                    <a:pt x="407" y="177"/>
                  </a:lnTo>
                  <a:lnTo>
                    <a:pt x="402" y="185"/>
                  </a:lnTo>
                  <a:lnTo>
                    <a:pt x="384" y="188"/>
                  </a:lnTo>
                  <a:lnTo>
                    <a:pt x="384" y="188"/>
                  </a:lnTo>
                  <a:lnTo>
                    <a:pt x="384" y="188"/>
                  </a:lnTo>
                  <a:lnTo>
                    <a:pt x="384" y="188"/>
                  </a:lnTo>
                  <a:lnTo>
                    <a:pt x="384" y="18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50" name="Freeform 36">
              <a:extLst>
                <a:ext uri="{FF2B5EF4-FFF2-40B4-BE49-F238E27FC236}">
                  <a16:creationId xmlns:a16="http://schemas.microsoft.com/office/drawing/2014/main" id="{105FA624-FE8D-4CC6-A1E7-A63E2A6AA89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76253" y="4193155"/>
              <a:ext cx="445745" cy="495891"/>
            </a:xfrm>
            <a:custGeom>
              <a:avLst/>
              <a:gdLst>
                <a:gd name="T0" fmla="*/ 450 w 480"/>
                <a:gd name="T1" fmla="*/ 457 h 534"/>
                <a:gd name="T2" fmla="*/ 453 w 480"/>
                <a:gd name="T3" fmla="*/ 503 h 534"/>
                <a:gd name="T4" fmla="*/ 303 w 480"/>
                <a:gd name="T5" fmla="*/ 494 h 534"/>
                <a:gd name="T6" fmla="*/ 299 w 480"/>
                <a:gd name="T7" fmla="*/ 503 h 534"/>
                <a:gd name="T8" fmla="*/ 251 w 480"/>
                <a:gd name="T9" fmla="*/ 503 h 534"/>
                <a:gd name="T10" fmla="*/ 220 w 480"/>
                <a:gd name="T11" fmla="*/ 494 h 534"/>
                <a:gd name="T12" fmla="*/ 202 w 480"/>
                <a:gd name="T13" fmla="*/ 528 h 534"/>
                <a:gd name="T14" fmla="*/ 190 w 480"/>
                <a:gd name="T15" fmla="*/ 528 h 534"/>
                <a:gd name="T16" fmla="*/ 166 w 480"/>
                <a:gd name="T17" fmla="*/ 509 h 534"/>
                <a:gd name="T18" fmla="*/ 160 w 480"/>
                <a:gd name="T19" fmla="*/ 503 h 534"/>
                <a:gd name="T20" fmla="*/ 150 w 480"/>
                <a:gd name="T21" fmla="*/ 494 h 534"/>
                <a:gd name="T22" fmla="*/ 138 w 480"/>
                <a:gd name="T23" fmla="*/ 475 h 534"/>
                <a:gd name="T24" fmla="*/ 129 w 480"/>
                <a:gd name="T25" fmla="*/ 472 h 534"/>
                <a:gd name="T26" fmla="*/ 108 w 480"/>
                <a:gd name="T27" fmla="*/ 454 h 534"/>
                <a:gd name="T28" fmla="*/ 58 w 480"/>
                <a:gd name="T29" fmla="*/ 457 h 534"/>
                <a:gd name="T30" fmla="*/ 21 w 480"/>
                <a:gd name="T31" fmla="*/ 475 h 534"/>
                <a:gd name="T32" fmla="*/ 39 w 480"/>
                <a:gd name="T33" fmla="*/ 410 h 534"/>
                <a:gd name="T34" fmla="*/ 37 w 480"/>
                <a:gd name="T35" fmla="*/ 360 h 534"/>
                <a:gd name="T36" fmla="*/ 30 w 480"/>
                <a:gd name="T37" fmla="*/ 332 h 534"/>
                <a:gd name="T38" fmla="*/ 30 w 480"/>
                <a:gd name="T39" fmla="*/ 320 h 534"/>
                <a:gd name="T40" fmla="*/ 21 w 480"/>
                <a:gd name="T41" fmla="*/ 286 h 534"/>
                <a:gd name="T42" fmla="*/ 18 w 480"/>
                <a:gd name="T43" fmla="*/ 286 h 534"/>
                <a:gd name="T44" fmla="*/ 0 w 480"/>
                <a:gd name="T45" fmla="*/ 279 h 534"/>
                <a:gd name="T46" fmla="*/ 108 w 480"/>
                <a:gd name="T47" fmla="*/ 258 h 534"/>
                <a:gd name="T48" fmla="*/ 157 w 480"/>
                <a:gd name="T49" fmla="*/ 189 h 534"/>
                <a:gd name="T50" fmla="*/ 200 w 480"/>
                <a:gd name="T51" fmla="*/ 168 h 534"/>
                <a:gd name="T52" fmla="*/ 329 w 480"/>
                <a:gd name="T53" fmla="*/ 59 h 534"/>
                <a:gd name="T54" fmla="*/ 480 w 480"/>
                <a:gd name="T55" fmla="*/ 103 h 534"/>
                <a:gd name="T56" fmla="*/ 420 w 480"/>
                <a:gd name="T57" fmla="*/ 186 h 534"/>
                <a:gd name="T58" fmla="*/ 420 w 480"/>
                <a:gd name="T59" fmla="*/ 186 h 534"/>
                <a:gd name="T60" fmla="*/ 420 w 480"/>
                <a:gd name="T61" fmla="*/ 186 h 534"/>
                <a:gd name="T62" fmla="*/ 21 w 480"/>
                <a:gd name="T63" fmla="*/ 323 h 534"/>
                <a:gd name="T64" fmla="*/ 27 w 480"/>
                <a:gd name="T65" fmla="*/ 329 h 534"/>
                <a:gd name="T66" fmla="*/ 27 w 480"/>
                <a:gd name="T67" fmla="*/ 329 h 534"/>
                <a:gd name="T68" fmla="*/ 27 w 480"/>
                <a:gd name="T69" fmla="*/ 329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80" h="534">
                  <a:moveTo>
                    <a:pt x="420" y="186"/>
                  </a:moveTo>
                  <a:lnTo>
                    <a:pt x="450" y="457"/>
                  </a:lnTo>
                  <a:lnTo>
                    <a:pt x="463" y="466"/>
                  </a:lnTo>
                  <a:lnTo>
                    <a:pt x="453" y="503"/>
                  </a:lnTo>
                  <a:lnTo>
                    <a:pt x="303" y="503"/>
                  </a:lnTo>
                  <a:lnTo>
                    <a:pt x="303" y="494"/>
                  </a:lnTo>
                  <a:lnTo>
                    <a:pt x="299" y="496"/>
                  </a:lnTo>
                  <a:lnTo>
                    <a:pt x="299" y="503"/>
                  </a:lnTo>
                  <a:lnTo>
                    <a:pt x="277" y="505"/>
                  </a:lnTo>
                  <a:lnTo>
                    <a:pt x="251" y="503"/>
                  </a:lnTo>
                  <a:lnTo>
                    <a:pt x="241" y="516"/>
                  </a:lnTo>
                  <a:lnTo>
                    <a:pt x="220" y="494"/>
                  </a:lnTo>
                  <a:lnTo>
                    <a:pt x="211" y="496"/>
                  </a:lnTo>
                  <a:lnTo>
                    <a:pt x="202" y="528"/>
                  </a:lnTo>
                  <a:lnTo>
                    <a:pt x="197" y="534"/>
                  </a:lnTo>
                  <a:lnTo>
                    <a:pt x="190" y="528"/>
                  </a:lnTo>
                  <a:lnTo>
                    <a:pt x="178" y="519"/>
                  </a:lnTo>
                  <a:lnTo>
                    <a:pt x="166" y="509"/>
                  </a:lnTo>
                  <a:lnTo>
                    <a:pt x="166" y="505"/>
                  </a:lnTo>
                  <a:lnTo>
                    <a:pt x="160" y="503"/>
                  </a:lnTo>
                  <a:lnTo>
                    <a:pt x="157" y="503"/>
                  </a:lnTo>
                  <a:lnTo>
                    <a:pt x="150" y="494"/>
                  </a:lnTo>
                  <a:lnTo>
                    <a:pt x="142" y="475"/>
                  </a:lnTo>
                  <a:lnTo>
                    <a:pt x="138" y="475"/>
                  </a:lnTo>
                  <a:lnTo>
                    <a:pt x="136" y="475"/>
                  </a:lnTo>
                  <a:lnTo>
                    <a:pt x="129" y="472"/>
                  </a:lnTo>
                  <a:lnTo>
                    <a:pt x="127" y="475"/>
                  </a:lnTo>
                  <a:lnTo>
                    <a:pt x="108" y="454"/>
                  </a:lnTo>
                  <a:lnTo>
                    <a:pt x="81" y="447"/>
                  </a:lnTo>
                  <a:lnTo>
                    <a:pt x="58" y="457"/>
                  </a:lnTo>
                  <a:lnTo>
                    <a:pt x="30" y="457"/>
                  </a:lnTo>
                  <a:lnTo>
                    <a:pt x="21" y="475"/>
                  </a:lnTo>
                  <a:lnTo>
                    <a:pt x="21" y="454"/>
                  </a:lnTo>
                  <a:lnTo>
                    <a:pt x="39" y="410"/>
                  </a:lnTo>
                  <a:lnTo>
                    <a:pt x="39" y="379"/>
                  </a:lnTo>
                  <a:lnTo>
                    <a:pt x="37" y="360"/>
                  </a:lnTo>
                  <a:lnTo>
                    <a:pt x="21" y="339"/>
                  </a:lnTo>
                  <a:lnTo>
                    <a:pt x="30" y="332"/>
                  </a:lnTo>
                  <a:lnTo>
                    <a:pt x="21" y="339"/>
                  </a:lnTo>
                  <a:lnTo>
                    <a:pt x="30" y="320"/>
                  </a:lnTo>
                  <a:lnTo>
                    <a:pt x="37" y="302"/>
                  </a:lnTo>
                  <a:lnTo>
                    <a:pt x="21" y="286"/>
                  </a:lnTo>
                  <a:lnTo>
                    <a:pt x="21" y="288"/>
                  </a:lnTo>
                  <a:lnTo>
                    <a:pt x="18" y="286"/>
                  </a:lnTo>
                  <a:lnTo>
                    <a:pt x="6" y="260"/>
                  </a:lnTo>
                  <a:lnTo>
                    <a:pt x="0" y="279"/>
                  </a:lnTo>
                  <a:lnTo>
                    <a:pt x="6" y="258"/>
                  </a:lnTo>
                  <a:lnTo>
                    <a:pt x="108" y="258"/>
                  </a:lnTo>
                  <a:lnTo>
                    <a:pt x="160" y="258"/>
                  </a:lnTo>
                  <a:lnTo>
                    <a:pt x="157" y="189"/>
                  </a:lnTo>
                  <a:lnTo>
                    <a:pt x="178" y="175"/>
                  </a:lnTo>
                  <a:lnTo>
                    <a:pt x="200" y="168"/>
                  </a:lnTo>
                  <a:lnTo>
                    <a:pt x="200" y="59"/>
                  </a:lnTo>
                  <a:lnTo>
                    <a:pt x="329" y="59"/>
                  </a:lnTo>
                  <a:lnTo>
                    <a:pt x="329" y="0"/>
                  </a:lnTo>
                  <a:lnTo>
                    <a:pt x="480" y="103"/>
                  </a:lnTo>
                  <a:lnTo>
                    <a:pt x="411" y="103"/>
                  </a:lnTo>
                  <a:lnTo>
                    <a:pt x="420" y="186"/>
                  </a:lnTo>
                  <a:lnTo>
                    <a:pt x="420" y="186"/>
                  </a:lnTo>
                  <a:lnTo>
                    <a:pt x="420" y="186"/>
                  </a:lnTo>
                  <a:lnTo>
                    <a:pt x="420" y="186"/>
                  </a:lnTo>
                  <a:lnTo>
                    <a:pt x="420" y="186"/>
                  </a:lnTo>
                  <a:close/>
                  <a:moveTo>
                    <a:pt x="27" y="329"/>
                  </a:moveTo>
                  <a:lnTo>
                    <a:pt x="21" y="323"/>
                  </a:lnTo>
                  <a:lnTo>
                    <a:pt x="27" y="320"/>
                  </a:lnTo>
                  <a:lnTo>
                    <a:pt x="27" y="329"/>
                  </a:lnTo>
                  <a:lnTo>
                    <a:pt x="27" y="329"/>
                  </a:lnTo>
                  <a:lnTo>
                    <a:pt x="27" y="329"/>
                  </a:lnTo>
                  <a:lnTo>
                    <a:pt x="27" y="329"/>
                  </a:lnTo>
                  <a:lnTo>
                    <a:pt x="27" y="329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51" name="Freeform 37">
              <a:extLst>
                <a:ext uri="{FF2B5EF4-FFF2-40B4-BE49-F238E27FC236}">
                  <a16:creationId xmlns:a16="http://schemas.microsoft.com/office/drawing/2014/main" id="{DA6E5AEA-D29A-4392-837A-1373A761C0A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02585" y="5634396"/>
              <a:ext cx="388169" cy="638900"/>
            </a:xfrm>
            <a:custGeom>
              <a:avLst/>
              <a:gdLst>
                <a:gd name="T0" fmla="*/ 116 w 418"/>
                <a:gd name="T1" fmla="*/ 146 h 688"/>
                <a:gd name="T2" fmla="*/ 168 w 418"/>
                <a:gd name="T3" fmla="*/ 171 h 688"/>
                <a:gd name="T4" fmla="*/ 165 w 418"/>
                <a:gd name="T5" fmla="*/ 232 h 688"/>
                <a:gd name="T6" fmla="*/ 186 w 418"/>
                <a:gd name="T7" fmla="*/ 264 h 688"/>
                <a:gd name="T8" fmla="*/ 198 w 418"/>
                <a:gd name="T9" fmla="*/ 275 h 688"/>
                <a:gd name="T10" fmla="*/ 205 w 418"/>
                <a:gd name="T11" fmla="*/ 232 h 688"/>
                <a:gd name="T12" fmla="*/ 223 w 418"/>
                <a:gd name="T13" fmla="*/ 204 h 688"/>
                <a:gd name="T14" fmla="*/ 223 w 418"/>
                <a:gd name="T15" fmla="*/ 174 h 688"/>
                <a:gd name="T16" fmla="*/ 174 w 418"/>
                <a:gd name="T17" fmla="*/ 123 h 688"/>
                <a:gd name="T18" fmla="*/ 165 w 418"/>
                <a:gd name="T19" fmla="*/ 72 h 688"/>
                <a:gd name="T20" fmla="*/ 186 w 418"/>
                <a:gd name="T21" fmla="*/ 46 h 688"/>
                <a:gd name="T22" fmla="*/ 235 w 418"/>
                <a:gd name="T23" fmla="*/ 46 h 688"/>
                <a:gd name="T24" fmla="*/ 259 w 418"/>
                <a:gd name="T25" fmla="*/ 46 h 688"/>
                <a:gd name="T26" fmla="*/ 305 w 418"/>
                <a:gd name="T27" fmla="*/ 37 h 688"/>
                <a:gd name="T28" fmla="*/ 344 w 418"/>
                <a:gd name="T29" fmla="*/ 30 h 688"/>
                <a:gd name="T30" fmla="*/ 405 w 418"/>
                <a:gd name="T31" fmla="*/ 0 h 688"/>
                <a:gd name="T32" fmla="*/ 409 w 418"/>
                <a:gd name="T33" fmla="*/ 18 h 688"/>
                <a:gd name="T34" fmla="*/ 409 w 418"/>
                <a:gd name="T35" fmla="*/ 21 h 688"/>
                <a:gd name="T36" fmla="*/ 405 w 418"/>
                <a:gd name="T37" fmla="*/ 49 h 688"/>
                <a:gd name="T38" fmla="*/ 411 w 418"/>
                <a:gd name="T39" fmla="*/ 93 h 688"/>
                <a:gd name="T40" fmla="*/ 409 w 418"/>
                <a:gd name="T41" fmla="*/ 102 h 688"/>
                <a:gd name="T42" fmla="*/ 405 w 418"/>
                <a:gd name="T43" fmla="*/ 152 h 688"/>
                <a:gd name="T44" fmla="*/ 409 w 418"/>
                <a:gd name="T45" fmla="*/ 164 h 688"/>
                <a:gd name="T46" fmla="*/ 411 w 418"/>
                <a:gd name="T47" fmla="*/ 192 h 688"/>
                <a:gd name="T48" fmla="*/ 409 w 418"/>
                <a:gd name="T49" fmla="*/ 204 h 688"/>
                <a:gd name="T50" fmla="*/ 378 w 418"/>
                <a:gd name="T51" fmla="*/ 238 h 688"/>
                <a:gd name="T52" fmla="*/ 351 w 418"/>
                <a:gd name="T53" fmla="*/ 264 h 688"/>
                <a:gd name="T54" fmla="*/ 275 w 418"/>
                <a:gd name="T55" fmla="*/ 301 h 688"/>
                <a:gd name="T56" fmla="*/ 266 w 418"/>
                <a:gd name="T57" fmla="*/ 317 h 688"/>
                <a:gd name="T58" fmla="*/ 228 w 418"/>
                <a:gd name="T59" fmla="*/ 347 h 688"/>
                <a:gd name="T60" fmla="*/ 177 w 418"/>
                <a:gd name="T61" fmla="*/ 387 h 688"/>
                <a:gd name="T62" fmla="*/ 193 w 418"/>
                <a:gd name="T63" fmla="*/ 435 h 688"/>
                <a:gd name="T64" fmla="*/ 198 w 418"/>
                <a:gd name="T65" fmla="*/ 496 h 688"/>
                <a:gd name="T66" fmla="*/ 207 w 418"/>
                <a:gd name="T67" fmla="*/ 491 h 688"/>
                <a:gd name="T68" fmla="*/ 214 w 418"/>
                <a:gd name="T69" fmla="*/ 521 h 688"/>
                <a:gd name="T70" fmla="*/ 198 w 418"/>
                <a:gd name="T71" fmla="*/ 565 h 688"/>
                <a:gd name="T72" fmla="*/ 186 w 418"/>
                <a:gd name="T73" fmla="*/ 590 h 688"/>
                <a:gd name="T74" fmla="*/ 92 w 418"/>
                <a:gd name="T75" fmla="*/ 648 h 688"/>
                <a:gd name="T76" fmla="*/ 104 w 418"/>
                <a:gd name="T77" fmla="*/ 688 h 688"/>
                <a:gd name="T78" fmla="*/ 71 w 418"/>
                <a:gd name="T79" fmla="*/ 648 h 688"/>
                <a:gd name="T80" fmla="*/ 52 w 418"/>
                <a:gd name="T81" fmla="*/ 542 h 688"/>
                <a:gd name="T82" fmla="*/ 85 w 418"/>
                <a:gd name="T83" fmla="*/ 450 h 688"/>
                <a:gd name="T84" fmla="*/ 92 w 418"/>
                <a:gd name="T85" fmla="*/ 431 h 688"/>
                <a:gd name="T86" fmla="*/ 104 w 418"/>
                <a:gd name="T87" fmla="*/ 410 h 688"/>
                <a:gd name="T88" fmla="*/ 104 w 418"/>
                <a:gd name="T89" fmla="*/ 357 h 688"/>
                <a:gd name="T90" fmla="*/ 104 w 418"/>
                <a:gd name="T91" fmla="*/ 341 h 688"/>
                <a:gd name="T92" fmla="*/ 108 w 418"/>
                <a:gd name="T93" fmla="*/ 319 h 688"/>
                <a:gd name="T94" fmla="*/ 108 w 418"/>
                <a:gd name="T95" fmla="*/ 289 h 688"/>
                <a:gd name="T96" fmla="*/ 108 w 418"/>
                <a:gd name="T97" fmla="*/ 257 h 688"/>
                <a:gd name="T98" fmla="*/ 83 w 418"/>
                <a:gd name="T99" fmla="*/ 248 h 688"/>
                <a:gd name="T100" fmla="*/ 47 w 418"/>
                <a:gd name="T101" fmla="*/ 236 h 688"/>
                <a:gd name="T102" fmla="*/ 10 w 418"/>
                <a:gd name="T103" fmla="*/ 213 h 688"/>
                <a:gd name="T104" fmla="*/ 10 w 418"/>
                <a:gd name="T105" fmla="*/ 213 h 688"/>
                <a:gd name="T106" fmla="*/ 378 w 418"/>
                <a:gd name="T107" fmla="*/ 238 h 688"/>
                <a:gd name="T108" fmla="*/ 381 w 418"/>
                <a:gd name="T109" fmla="*/ 245 h 688"/>
                <a:gd name="T110" fmla="*/ 381 w 418"/>
                <a:gd name="T111" fmla="*/ 245 h 688"/>
                <a:gd name="T112" fmla="*/ 108 w 418"/>
                <a:gd name="T113" fmla="*/ 648 h 688"/>
                <a:gd name="T114" fmla="*/ 108 w 418"/>
                <a:gd name="T115" fmla="*/ 651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18" h="688">
                  <a:moveTo>
                    <a:pt x="10" y="213"/>
                  </a:moveTo>
                  <a:lnTo>
                    <a:pt x="0" y="186"/>
                  </a:lnTo>
                  <a:lnTo>
                    <a:pt x="116" y="146"/>
                  </a:lnTo>
                  <a:lnTo>
                    <a:pt x="135" y="171"/>
                  </a:lnTo>
                  <a:lnTo>
                    <a:pt x="162" y="161"/>
                  </a:lnTo>
                  <a:lnTo>
                    <a:pt x="168" y="171"/>
                  </a:lnTo>
                  <a:lnTo>
                    <a:pt x="168" y="201"/>
                  </a:lnTo>
                  <a:lnTo>
                    <a:pt x="155" y="223"/>
                  </a:lnTo>
                  <a:lnTo>
                    <a:pt x="165" y="232"/>
                  </a:lnTo>
                  <a:lnTo>
                    <a:pt x="165" y="238"/>
                  </a:lnTo>
                  <a:lnTo>
                    <a:pt x="168" y="238"/>
                  </a:lnTo>
                  <a:lnTo>
                    <a:pt x="186" y="264"/>
                  </a:lnTo>
                  <a:lnTo>
                    <a:pt x="195" y="264"/>
                  </a:lnTo>
                  <a:lnTo>
                    <a:pt x="193" y="275"/>
                  </a:lnTo>
                  <a:lnTo>
                    <a:pt x="198" y="275"/>
                  </a:lnTo>
                  <a:lnTo>
                    <a:pt x="198" y="257"/>
                  </a:lnTo>
                  <a:lnTo>
                    <a:pt x="193" y="248"/>
                  </a:lnTo>
                  <a:lnTo>
                    <a:pt x="205" y="232"/>
                  </a:lnTo>
                  <a:lnTo>
                    <a:pt x="207" y="236"/>
                  </a:lnTo>
                  <a:lnTo>
                    <a:pt x="223" y="227"/>
                  </a:lnTo>
                  <a:lnTo>
                    <a:pt x="223" y="204"/>
                  </a:lnTo>
                  <a:lnTo>
                    <a:pt x="216" y="195"/>
                  </a:lnTo>
                  <a:lnTo>
                    <a:pt x="226" y="183"/>
                  </a:lnTo>
                  <a:lnTo>
                    <a:pt x="223" y="174"/>
                  </a:lnTo>
                  <a:lnTo>
                    <a:pt x="193" y="132"/>
                  </a:lnTo>
                  <a:lnTo>
                    <a:pt x="183" y="123"/>
                  </a:lnTo>
                  <a:lnTo>
                    <a:pt x="174" y="123"/>
                  </a:lnTo>
                  <a:lnTo>
                    <a:pt x="168" y="120"/>
                  </a:lnTo>
                  <a:lnTo>
                    <a:pt x="168" y="93"/>
                  </a:lnTo>
                  <a:lnTo>
                    <a:pt x="165" y="72"/>
                  </a:lnTo>
                  <a:lnTo>
                    <a:pt x="174" y="53"/>
                  </a:lnTo>
                  <a:lnTo>
                    <a:pt x="174" y="46"/>
                  </a:lnTo>
                  <a:lnTo>
                    <a:pt x="186" y="46"/>
                  </a:lnTo>
                  <a:lnTo>
                    <a:pt x="207" y="49"/>
                  </a:lnTo>
                  <a:lnTo>
                    <a:pt x="223" y="40"/>
                  </a:lnTo>
                  <a:lnTo>
                    <a:pt x="235" y="46"/>
                  </a:lnTo>
                  <a:lnTo>
                    <a:pt x="235" y="53"/>
                  </a:lnTo>
                  <a:lnTo>
                    <a:pt x="247" y="53"/>
                  </a:lnTo>
                  <a:lnTo>
                    <a:pt x="259" y="46"/>
                  </a:lnTo>
                  <a:lnTo>
                    <a:pt x="287" y="53"/>
                  </a:lnTo>
                  <a:lnTo>
                    <a:pt x="299" y="46"/>
                  </a:lnTo>
                  <a:lnTo>
                    <a:pt x="305" y="37"/>
                  </a:lnTo>
                  <a:lnTo>
                    <a:pt x="308" y="30"/>
                  </a:lnTo>
                  <a:lnTo>
                    <a:pt x="326" y="40"/>
                  </a:lnTo>
                  <a:lnTo>
                    <a:pt x="344" y="30"/>
                  </a:lnTo>
                  <a:lnTo>
                    <a:pt x="357" y="30"/>
                  </a:lnTo>
                  <a:lnTo>
                    <a:pt x="405" y="0"/>
                  </a:lnTo>
                  <a:lnTo>
                    <a:pt x="405" y="0"/>
                  </a:lnTo>
                  <a:lnTo>
                    <a:pt x="409" y="9"/>
                  </a:lnTo>
                  <a:lnTo>
                    <a:pt x="405" y="16"/>
                  </a:lnTo>
                  <a:lnTo>
                    <a:pt x="409" y="18"/>
                  </a:lnTo>
                  <a:lnTo>
                    <a:pt x="405" y="18"/>
                  </a:lnTo>
                  <a:lnTo>
                    <a:pt x="405" y="21"/>
                  </a:lnTo>
                  <a:lnTo>
                    <a:pt x="409" y="21"/>
                  </a:lnTo>
                  <a:lnTo>
                    <a:pt x="399" y="37"/>
                  </a:lnTo>
                  <a:lnTo>
                    <a:pt x="405" y="40"/>
                  </a:lnTo>
                  <a:lnTo>
                    <a:pt x="405" y="49"/>
                  </a:lnTo>
                  <a:lnTo>
                    <a:pt x="405" y="62"/>
                  </a:lnTo>
                  <a:lnTo>
                    <a:pt x="405" y="83"/>
                  </a:lnTo>
                  <a:lnTo>
                    <a:pt x="411" y="93"/>
                  </a:lnTo>
                  <a:lnTo>
                    <a:pt x="399" y="102"/>
                  </a:lnTo>
                  <a:lnTo>
                    <a:pt x="405" y="109"/>
                  </a:lnTo>
                  <a:lnTo>
                    <a:pt x="409" y="102"/>
                  </a:lnTo>
                  <a:lnTo>
                    <a:pt x="405" y="123"/>
                  </a:lnTo>
                  <a:lnTo>
                    <a:pt x="411" y="146"/>
                  </a:lnTo>
                  <a:lnTo>
                    <a:pt x="405" y="152"/>
                  </a:lnTo>
                  <a:lnTo>
                    <a:pt x="409" y="155"/>
                  </a:lnTo>
                  <a:lnTo>
                    <a:pt x="411" y="155"/>
                  </a:lnTo>
                  <a:lnTo>
                    <a:pt x="409" y="164"/>
                  </a:lnTo>
                  <a:lnTo>
                    <a:pt x="418" y="161"/>
                  </a:lnTo>
                  <a:lnTo>
                    <a:pt x="418" y="174"/>
                  </a:lnTo>
                  <a:lnTo>
                    <a:pt x="411" y="192"/>
                  </a:lnTo>
                  <a:lnTo>
                    <a:pt x="405" y="192"/>
                  </a:lnTo>
                  <a:lnTo>
                    <a:pt x="411" y="195"/>
                  </a:lnTo>
                  <a:lnTo>
                    <a:pt x="409" y="204"/>
                  </a:lnTo>
                  <a:lnTo>
                    <a:pt x="390" y="227"/>
                  </a:lnTo>
                  <a:lnTo>
                    <a:pt x="388" y="236"/>
                  </a:lnTo>
                  <a:lnTo>
                    <a:pt x="378" y="238"/>
                  </a:lnTo>
                  <a:lnTo>
                    <a:pt x="378" y="245"/>
                  </a:lnTo>
                  <a:lnTo>
                    <a:pt x="374" y="248"/>
                  </a:lnTo>
                  <a:lnTo>
                    <a:pt x="351" y="264"/>
                  </a:lnTo>
                  <a:lnTo>
                    <a:pt x="348" y="266"/>
                  </a:lnTo>
                  <a:lnTo>
                    <a:pt x="299" y="285"/>
                  </a:lnTo>
                  <a:lnTo>
                    <a:pt x="275" y="301"/>
                  </a:lnTo>
                  <a:lnTo>
                    <a:pt x="266" y="310"/>
                  </a:lnTo>
                  <a:lnTo>
                    <a:pt x="259" y="307"/>
                  </a:lnTo>
                  <a:lnTo>
                    <a:pt x="266" y="317"/>
                  </a:lnTo>
                  <a:lnTo>
                    <a:pt x="238" y="347"/>
                  </a:lnTo>
                  <a:lnTo>
                    <a:pt x="228" y="347"/>
                  </a:lnTo>
                  <a:lnTo>
                    <a:pt x="228" y="347"/>
                  </a:lnTo>
                  <a:lnTo>
                    <a:pt x="183" y="391"/>
                  </a:lnTo>
                  <a:lnTo>
                    <a:pt x="174" y="378"/>
                  </a:lnTo>
                  <a:lnTo>
                    <a:pt x="177" y="387"/>
                  </a:lnTo>
                  <a:lnTo>
                    <a:pt x="177" y="403"/>
                  </a:lnTo>
                  <a:lnTo>
                    <a:pt x="174" y="413"/>
                  </a:lnTo>
                  <a:lnTo>
                    <a:pt x="193" y="435"/>
                  </a:lnTo>
                  <a:lnTo>
                    <a:pt x="193" y="450"/>
                  </a:lnTo>
                  <a:lnTo>
                    <a:pt x="198" y="463"/>
                  </a:lnTo>
                  <a:lnTo>
                    <a:pt x="198" y="496"/>
                  </a:lnTo>
                  <a:lnTo>
                    <a:pt x="205" y="496"/>
                  </a:lnTo>
                  <a:lnTo>
                    <a:pt x="207" y="484"/>
                  </a:lnTo>
                  <a:lnTo>
                    <a:pt x="207" y="491"/>
                  </a:lnTo>
                  <a:lnTo>
                    <a:pt x="207" y="515"/>
                  </a:lnTo>
                  <a:lnTo>
                    <a:pt x="207" y="521"/>
                  </a:lnTo>
                  <a:lnTo>
                    <a:pt x="214" y="521"/>
                  </a:lnTo>
                  <a:lnTo>
                    <a:pt x="207" y="528"/>
                  </a:lnTo>
                  <a:lnTo>
                    <a:pt x="198" y="559"/>
                  </a:lnTo>
                  <a:lnTo>
                    <a:pt x="198" y="565"/>
                  </a:lnTo>
                  <a:lnTo>
                    <a:pt x="207" y="556"/>
                  </a:lnTo>
                  <a:lnTo>
                    <a:pt x="207" y="568"/>
                  </a:lnTo>
                  <a:lnTo>
                    <a:pt x="186" y="590"/>
                  </a:lnTo>
                  <a:lnTo>
                    <a:pt x="135" y="614"/>
                  </a:lnTo>
                  <a:lnTo>
                    <a:pt x="101" y="637"/>
                  </a:lnTo>
                  <a:lnTo>
                    <a:pt x="92" y="648"/>
                  </a:lnTo>
                  <a:lnTo>
                    <a:pt x="104" y="661"/>
                  </a:lnTo>
                  <a:lnTo>
                    <a:pt x="108" y="651"/>
                  </a:lnTo>
                  <a:lnTo>
                    <a:pt x="104" y="688"/>
                  </a:lnTo>
                  <a:lnTo>
                    <a:pt x="73" y="688"/>
                  </a:lnTo>
                  <a:lnTo>
                    <a:pt x="73" y="658"/>
                  </a:lnTo>
                  <a:lnTo>
                    <a:pt x="71" y="648"/>
                  </a:lnTo>
                  <a:lnTo>
                    <a:pt x="71" y="584"/>
                  </a:lnTo>
                  <a:lnTo>
                    <a:pt x="64" y="565"/>
                  </a:lnTo>
                  <a:lnTo>
                    <a:pt x="52" y="542"/>
                  </a:lnTo>
                  <a:lnTo>
                    <a:pt x="52" y="528"/>
                  </a:lnTo>
                  <a:lnTo>
                    <a:pt x="43" y="496"/>
                  </a:lnTo>
                  <a:lnTo>
                    <a:pt x="85" y="450"/>
                  </a:lnTo>
                  <a:lnTo>
                    <a:pt x="85" y="453"/>
                  </a:lnTo>
                  <a:lnTo>
                    <a:pt x="83" y="444"/>
                  </a:lnTo>
                  <a:lnTo>
                    <a:pt x="92" y="431"/>
                  </a:lnTo>
                  <a:lnTo>
                    <a:pt x="85" y="421"/>
                  </a:lnTo>
                  <a:lnTo>
                    <a:pt x="95" y="419"/>
                  </a:lnTo>
                  <a:lnTo>
                    <a:pt x="104" y="410"/>
                  </a:lnTo>
                  <a:lnTo>
                    <a:pt x="113" y="387"/>
                  </a:lnTo>
                  <a:lnTo>
                    <a:pt x="101" y="373"/>
                  </a:lnTo>
                  <a:lnTo>
                    <a:pt x="104" y="357"/>
                  </a:lnTo>
                  <a:lnTo>
                    <a:pt x="95" y="350"/>
                  </a:lnTo>
                  <a:lnTo>
                    <a:pt x="95" y="347"/>
                  </a:lnTo>
                  <a:lnTo>
                    <a:pt x="104" y="341"/>
                  </a:lnTo>
                  <a:lnTo>
                    <a:pt x="104" y="332"/>
                  </a:lnTo>
                  <a:lnTo>
                    <a:pt x="113" y="326"/>
                  </a:lnTo>
                  <a:lnTo>
                    <a:pt x="108" y="319"/>
                  </a:lnTo>
                  <a:lnTo>
                    <a:pt x="104" y="310"/>
                  </a:lnTo>
                  <a:lnTo>
                    <a:pt x="108" y="295"/>
                  </a:lnTo>
                  <a:lnTo>
                    <a:pt x="108" y="289"/>
                  </a:lnTo>
                  <a:lnTo>
                    <a:pt x="108" y="285"/>
                  </a:lnTo>
                  <a:lnTo>
                    <a:pt x="104" y="266"/>
                  </a:lnTo>
                  <a:lnTo>
                    <a:pt x="108" y="257"/>
                  </a:lnTo>
                  <a:lnTo>
                    <a:pt x="101" y="257"/>
                  </a:lnTo>
                  <a:lnTo>
                    <a:pt x="95" y="255"/>
                  </a:lnTo>
                  <a:lnTo>
                    <a:pt x="83" y="248"/>
                  </a:lnTo>
                  <a:lnTo>
                    <a:pt x="64" y="245"/>
                  </a:lnTo>
                  <a:lnTo>
                    <a:pt x="56" y="236"/>
                  </a:lnTo>
                  <a:lnTo>
                    <a:pt x="47" y="236"/>
                  </a:lnTo>
                  <a:lnTo>
                    <a:pt x="40" y="227"/>
                  </a:lnTo>
                  <a:lnTo>
                    <a:pt x="10" y="227"/>
                  </a:lnTo>
                  <a:lnTo>
                    <a:pt x="10" y="213"/>
                  </a:lnTo>
                  <a:lnTo>
                    <a:pt x="10" y="213"/>
                  </a:lnTo>
                  <a:lnTo>
                    <a:pt x="10" y="213"/>
                  </a:lnTo>
                  <a:lnTo>
                    <a:pt x="10" y="213"/>
                  </a:lnTo>
                  <a:lnTo>
                    <a:pt x="10" y="213"/>
                  </a:lnTo>
                  <a:close/>
                  <a:moveTo>
                    <a:pt x="381" y="245"/>
                  </a:moveTo>
                  <a:lnTo>
                    <a:pt x="378" y="238"/>
                  </a:lnTo>
                  <a:lnTo>
                    <a:pt x="381" y="238"/>
                  </a:lnTo>
                  <a:lnTo>
                    <a:pt x="381" y="245"/>
                  </a:lnTo>
                  <a:lnTo>
                    <a:pt x="381" y="245"/>
                  </a:lnTo>
                  <a:lnTo>
                    <a:pt x="381" y="245"/>
                  </a:lnTo>
                  <a:lnTo>
                    <a:pt x="381" y="245"/>
                  </a:lnTo>
                  <a:lnTo>
                    <a:pt x="381" y="245"/>
                  </a:lnTo>
                  <a:close/>
                  <a:moveTo>
                    <a:pt x="108" y="651"/>
                  </a:moveTo>
                  <a:lnTo>
                    <a:pt x="104" y="648"/>
                  </a:lnTo>
                  <a:lnTo>
                    <a:pt x="108" y="648"/>
                  </a:lnTo>
                  <a:lnTo>
                    <a:pt x="108" y="651"/>
                  </a:lnTo>
                  <a:lnTo>
                    <a:pt x="108" y="651"/>
                  </a:lnTo>
                  <a:lnTo>
                    <a:pt x="108" y="651"/>
                  </a:lnTo>
                  <a:lnTo>
                    <a:pt x="108" y="651"/>
                  </a:lnTo>
                  <a:lnTo>
                    <a:pt x="108" y="651"/>
                  </a:lnTo>
                  <a:close/>
                </a:path>
              </a:pathLst>
            </a:custGeom>
            <a:solidFill>
              <a:srgbClr val="FEC057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52" name="Freeform 38">
              <a:extLst>
                <a:ext uri="{FF2B5EF4-FFF2-40B4-BE49-F238E27FC236}">
                  <a16:creationId xmlns:a16="http://schemas.microsoft.com/office/drawing/2014/main" id="{E1849FDD-B282-4BA8-A1E7-02678FCB8D17}"/>
                </a:ext>
              </a:extLst>
            </p:cNvPr>
            <p:cNvSpPr>
              <a:spLocks/>
            </p:cNvSpPr>
            <p:nvPr/>
          </p:nvSpPr>
          <p:spPr bwMode="gray">
            <a:xfrm>
              <a:off x="6203081" y="4345451"/>
              <a:ext cx="576682" cy="457816"/>
            </a:xfrm>
            <a:custGeom>
              <a:avLst/>
              <a:gdLst>
                <a:gd name="T0" fmla="*/ 109 w 621"/>
                <a:gd name="T1" fmla="*/ 462 h 493"/>
                <a:gd name="T2" fmla="*/ 90 w 621"/>
                <a:gd name="T3" fmla="*/ 484 h 493"/>
                <a:gd name="T4" fmla="*/ 81 w 621"/>
                <a:gd name="T5" fmla="*/ 462 h 493"/>
                <a:gd name="T6" fmla="*/ 57 w 621"/>
                <a:gd name="T7" fmla="*/ 453 h 493"/>
                <a:gd name="T8" fmla="*/ 36 w 621"/>
                <a:gd name="T9" fmla="*/ 421 h 493"/>
                <a:gd name="T10" fmla="*/ 36 w 621"/>
                <a:gd name="T11" fmla="*/ 416 h 493"/>
                <a:gd name="T12" fmla="*/ 18 w 621"/>
                <a:gd name="T13" fmla="*/ 407 h 493"/>
                <a:gd name="T14" fmla="*/ 12 w 621"/>
                <a:gd name="T15" fmla="*/ 384 h 493"/>
                <a:gd name="T16" fmla="*/ 5 w 621"/>
                <a:gd name="T17" fmla="*/ 360 h 493"/>
                <a:gd name="T18" fmla="*/ 36 w 621"/>
                <a:gd name="T19" fmla="*/ 354 h 493"/>
                <a:gd name="T20" fmla="*/ 111 w 621"/>
                <a:gd name="T21" fmla="*/ 340 h 493"/>
                <a:gd name="T22" fmla="*/ 132 w 621"/>
                <a:gd name="T23" fmla="*/ 340 h 493"/>
                <a:gd name="T24" fmla="*/ 148 w 621"/>
                <a:gd name="T25" fmla="*/ 329 h 493"/>
                <a:gd name="T26" fmla="*/ 160 w 621"/>
                <a:gd name="T27" fmla="*/ 298 h 493"/>
                <a:gd name="T28" fmla="*/ 223 w 621"/>
                <a:gd name="T29" fmla="*/ 173 h 493"/>
                <a:gd name="T30" fmla="*/ 464 w 621"/>
                <a:gd name="T31" fmla="*/ 0 h 493"/>
                <a:gd name="T32" fmla="*/ 552 w 621"/>
                <a:gd name="T33" fmla="*/ 40 h 493"/>
                <a:gd name="T34" fmla="*/ 591 w 621"/>
                <a:gd name="T35" fmla="*/ 62 h 493"/>
                <a:gd name="T36" fmla="*/ 609 w 621"/>
                <a:gd name="T37" fmla="*/ 105 h 493"/>
                <a:gd name="T38" fmla="*/ 621 w 621"/>
                <a:gd name="T39" fmla="*/ 134 h 493"/>
                <a:gd name="T40" fmla="*/ 603 w 621"/>
                <a:gd name="T41" fmla="*/ 275 h 493"/>
                <a:gd name="T42" fmla="*/ 539 w 621"/>
                <a:gd name="T43" fmla="*/ 354 h 493"/>
                <a:gd name="T44" fmla="*/ 522 w 621"/>
                <a:gd name="T45" fmla="*/ 375 h 493"/>
                <a:gd name="T46" fmla="*/ 518 w 621"/>
                <a:gd name="T47" fmla="*/ 407 h 493"/>
                <a:gd name="T48" fmla="*/ 501 w 621"/>
                <a:gd name="T49" fmla="*/ 416 h 493"/>
                <a:gd name="T50" fmla="*/ 443 w 621"/>
                <a:gd name="T51" fmla="*/ 421 h 493"/>
                <a:gd name="T52" fmla="*/ 392 w 621"/>
                <a:gd name="T53" fmla="*/ 425 h 493"/>
                <a:gd name="T54" fmla="*/ 337 w 621"/>
                <a:gd name="T55" fmla="*/ 437 h 493"/>
                <a:gd name="T56" fmla="*/ 302 w 621"/>
                <a:gd name="T57" fmla="*/ 421 h 493"/>
                <a:gd name="T58" fmla="*/ 280 w 621"/>
                <a:gd name="T59" fmla="*/ 435 h 493"/>
                <a:gd name="T60" fmla="*/ 268 w 621"/>
                <a:gd name="T61" fmla="*/ 437 h 493"/>
                <a:gd name="T62" fmla="*/ 238 w 621"/>
                <a:gd name="T63" fmla="*/ 412 h 493"/>
                <a:gd name="T64" fmla="*/ 202 w 621"/>
                <a:gd name="T65" fmla="*/ 407 h 493"/>
                <a:gd name="T66" fmla="*/ 172 w 621"/>
                <a:gd name="T67" fmla="*/ 407 h 493"/>
                <a:gd name="T68" fmla="*/ 156 w 621"/>
                <a:gd name="T69" fmla="*/ 437 h 493"/>
                <a:gd name="T70" fmla="*/ 139 w 621"/>
                <a:gd name="T71" fmla="*/ 455 h 493"/>
                <a:gd name="T72" fmla="*/ 142 w 621"/>
                <a:gd name="T73" fmla="*/ 487 h 493"/>
                <a:gd name="T74" fmla="*/ 139 w 621"/>
                <a:gd name="T75" fmla="*/ 493 h 493"/>
                <a:gd name="T76" fmla="*/ 139 w 621"/>
                <a:gd name="T77" fmla="*/ 493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21" h="493">
                  <a:moveTo>
                    <a:pt x="139" y="493"/>
                  </a:moveTo>
                  <a:lnTo>
                    <a:pt x="109" y="462"/>
                  </a:lnTo>
                  <a:lnTo>
                    <a:pt x="90" y="469"/>
                  </a:lnTo>
                  <a:lnTo>
                    <a:pt x="90" y="484"/>
                  </a:lnTo>
                  <a:lnTo>
                    <a:pt x="78" y="465"/>
                  </a:lnTo>
                  <a:lnTo>
                    <a:pt x="81" y="462"/>
                  </a:lnTo>
                  <a:lnTo>
                    <a:pt x="78" y="453"/>
                  </a:lnTo>
                  <a:lnTo>
                    <a:pt x="57" y="453"/>
                  </a:lnTo>
                  <a:lnTo>
                    <a:pt x="36" y="435"/>
                  </a:lnTo>
                  <a:lnTo>
                    <a:pt x="36" y="421"/>
                  </a:lnTo>
                  <a:lnTo>
                    <a:pt x="48" y="425"/>
                  </a:lnTo>
                  <a:lnTo>
                    <a:pt x="36" y="416"/>
                  </a:lnTo>
                  <a:lnTo>
                    <a:pt x="36" y="416"/>
                  </a:lnTo>
                  <a:lnTo>
                    <a:pt x="18" y="407"/>
                  </a:lnTo>
                  <a:lnTo>
                    <a:pt x="8" y="391"/>
                  </a:lnTo>
                  <a:lnTo>
                    <a:pt x="12" y="384"/>
                  </a:lnTo>
                  <a:lnTo>
                    <a:pt x="0" y="375"/>
                  </a:lnTo>
                  <a:lnTo>
                    <a:pt x="5" y="360"/>
                  </a:lnTo>
                  <a:lnTo>
                    <a:pt x="5" y="354"/>
                  </a:lnTo>
                  <a:lnTo>
                    <a:pt x="36" y="354"/>
                  </a:lnTo>
                  <a:lnTo>
                    <a:pt x="48" y="344"/>
                  </a:lnTo>
                  <a:lnTo>
                    <a:pt x="111" y="340"/>
                  </a:lnTo>
                  <a:lnTo>
                    <a:pt x="118" y="338"/>
                  </a:lnTo>
                  <a:lnTo>
                    <a:pt x="132" y="340"/>
                  </a:lnTo>
                  <a:lnTo>
                    <a:pt x="132" y="331"/>
                  </a:lnTo>
                  <a:lnTo>
                    <a:pt x="148" y="329"/>
                  </a:lnTo>
                  <a:lnTo>
                    <a:pt x="156" y="301"/>
                  </a:lnTo>
                  <a:lnTo>
                    <a:pt x="160" y="298"/>
                  </a:lnTo>
                  <a:lnTo>
                    <a:pt x="162" y="183"/>
                  </a:lnTo>
                  <a:lnTo>
                    <a:pt x="223" y="173"/>
                  </a:lnTo>
                  <a:lnTo>
                    <a:pt x="289" y="111"/>
                  </a:lnTo>
                  <a:lnTo>
                    <a:pt x="464" y="0"/>
                  </a:lnTo>
                  <a:lnTo>
                    <a:pt x="525" y="12"/>
                  </a:lnTo>
                  <a:lnTo>
                    <a:pt x="552" y="40"/>
                  </a:lnTo>
                  <a:lnTo>
                    <a:pt x="581" y="21"/>
                  </a:lnTo>
                  <a:lnTo>
                    <a:pt x="591" y="62"/>
                  </a:lnTo>
                  <a:lnTo>
                    <a:pt x="591" y="84"/>
                  </a:lnTo>
                  <a:lnTo>
                    <a:pt x="609" y="105"/>
                  </a:lnTo>
                  <a:lnTo>
                    <a:pt x="609" y="114"/>
                  </a:lnTo>
                  <a:lnTo>
                    <a:pt x="621" y="134"/>
                  </a:lnTo>
                  <a:lnTo>
                    <a:pt x="612" y="153"/>
                  </a:lnTo>
                  <a:lnTo>
                    <a:pt x="603" y="275"/>
                  </a:lnTo>
                  <a:lnTo>
                    <a:pt x="560" y="322"/>
                  </a:lnTo>
                  <a:lnTo>
                    <a:pt x="539" y="354"/>
                  </a:lnTo>
                  <a:lnTo>
                    <a:pt x="532" y="372"/>
                  </a:lnTo>
                  <a:lnTo>
                    <a:pt x="522" y="375"/>
                  </a:lnTo>
                  <a:lnTo>
                    <a:pt x="532" y="407"/>
                  </a:lnTo>
                  <a:lnTo>
                    <a:pt x="518" y="407"/>
                  </a:lnTo>
                  <a:lnTo>
                    <a:pt x="512" y="416"/>
                  </a:lnTo>
                  <a:lnTo>
                    <a:pt x="501" y="416"/>
                  </a:lnTo>
                  <a:lnTo>
                    <a:pt x="482" y="435"/>
                  </a:lnTo>
                  <a:lnTo>
                    <a:pt x="443" y="421"/>
                  </a:lnTo>
                  <a:lnTo>
                    <a:pt x="414" y="421"/>
                  </a:lnTo>
                  <a:lnTo>
                    <a:pt x="392" y="425"/>
                  </a:lnTo>
                  <a:lnTo>
                    <a:pt x="374" y="447"/>
                  </a:lnTo>
                  <a:lnTo>
                    <a:pt x="337" y="437"/>
                  </a:lnTo>
                  <a:lnTo>
                    <a:pt x="313" y="425"/>
                  </a:lnTo>
                  <a:lnTo>
                    <a:pt x="302" y="421"/>
                  </a:lnTo>
                  <a:lnTo>
                    <a:pt x="283" y="435"/>
                  </a:lnTo>
                  <a:lnTo>
                    <a:pt x="280" y="435"/>
                  </a:lnTo>
                  <a:lnTo>
                    <a:pt x="271" y="437"/>
                  </a:lnTo>
                  <a:lnTo>
                    <a:pt x="268" y="437"/>
                  </a:lnTo>
                  <a:lnTo>
                    <a:pt x="241" y="407"/>
                  </a:lnTo>
                  <a:lnTo>
                    <a:pt x="238" y="412"/>
                  </a:lnTo>
                  <a:lnTo>
                    <a:pt x="212" y="403"/>
                  </a:lnTo>
                  <a:lnTo>
                    <a:pt x="202" y="407"/>
                  </a:lnTo>
                  <a:lnTo>
                    <a:pt x="186" y="407"/>
                  </a:lnTo>
                  <a:lnTo>
                    <a:pt x="172" y="407"/>
                  </a:lnTo>
                  <a:lnTo>
                    <a:pt x="160" y="416"/>
                  </a:lnTo>
                  <a:lnTo>
                    <a:pt x="156" y="437"/>
                  </a:lnTo>
                  <a:lnTo>
                    <a:pt x="151" y="447"/>
                  </a:lnTo>
                  <a:lnTo>
                    <a:pt x="139" y="455"/>
                  </a:lnTo>
                  <a:lnTo>
                    <a:pt x="139" y="484"/>
                  </a:lnTo>
                  <a:lnTo>
                    <a:pt x="142" y="487"/>
                  </a:lnTo>
                  <a:lnTo>
                    <a:pt x="139" y="493"/>
                  </a:lnTo>
                  <a:lnTo>
                    <a:pt x="139" y="493"/>
                  </a:lnTo>
                  <a:lnTo>
                    <a:pt x="139" y="493"/>
                  </a:lnTo>
                  <a:lnTo>
                    <a:pt x="139" y="493"/>
                  </a:lnTo>
                  <a:lnTo>
                    <a:pt x="139" y="493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53" name="Freeform 39">
              <a:extLst>
                <a:ext uri="{FF2B5EF4-FFF2-40B4-BE49-F238E27FC236}">
                  <a16:creationId xmlns:a16="http://schemas.microsoft.com/office/drawing/2014/main" id="{BAE1DF1F-6093-4E5B-9305-270B358493C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5017" y="4718762"/>
              <a:ext cx="438316" cy="365882"/>
            </a:xfrm>
            <a:custGeom>
              <a:avLst/>
              <a:gdLst>
                <a:gd name="T0" fmla="*/ 364 w 472"/>
                <a:gd name="T1" fmla="*/ 278 h 394"/>
                <a:gd name="T2" fmla="*/ 343 w 472"/>
                <a:gd name="T3" fmla="*/ 303 h 394"/>
                <a:gd name="T4" fmla="*/ 312 w 472"/>
                <a:gd name="T5" fmla="*/ 278 h 394"/>
                <a:gd name="T6" fmla="*/ 293 w 472"/>
                <a:gd name="T7" fmla="*/ 282 h 394"/>
                <a:gd name="T8" fmla="*/ 277 w 472"/>
                <a:gd name="T9" fmla="*/ 300 h 394"/>
                <a:gd name="T10" fmla="*/ 246 w 472"/>
                <a:gd name="T11" fmla="*/ 340 h 394"/>
                <a:gd name="T12" fmla="*/ 230 w 472"/>
                <a:gd name="T13" fmla="*/ 374 h 394"/>
                <a:gd name="T14" fmla="*/ 222 w 472"/>
                <a:gd name="T15" fmla="*/ 377 h 394"/>
                <a:gd name="T16" fmla="*/ 194 w 472"/>
                <a:gd name="T17" fmla="*/ 374 h 394"/>
                <a:gd name="T18" fmla="*/ 173 w 472"/>
                <a:gd name="T19" fmla="*/ 372 h 394"/>
                <a:gd name="T20" fmla="*/ 170 w 472"/>
                <a:gd name="T21" fmla="*/ 374 h 394"/>
                <a:gd name="T22" fmla="*/ 164 w 472"/>
                <a:gd name="T23" fmla="*/ 387 h 394"/>
                <a:gd name="T24" fmla="*/ 161 w 472"/>
                <a:gd name="T25" fmla="*/ 387 h 394"/>
                <a:gd name="T26" fmla="*/ 161 w 472"/>
                <a:gd name="T27" fmla="*/ 387 h 394"/>
                <a:gd name="T28" fmla="*/ 142 w 472"/>
                <a:gd name="T29" fmla="*/ 384 h 394"/>
                <a:gd name="T30" fmla="*/ 121 w 472"/>
                <a:gd name="T31" fmla="*/ 384 h 394"/>
                <a:gd name="T32" fmla="*/ 112 w 472"/>
                <a:gd name="T33" fmla="*/ 356 h 394"/>
                <a:gd name="T34" fmla="*/ 119 w 472"/>
                <a:gd name="T35" fmla="*/ 340 h 394"/>
                <a:gd name="T36" fmla="*/ 100 w 472"/>
                <a:gd name="T37" fmla="*/ 340 h 394"/>
                <a:gd name="T38" fmla="*/ 88 w 472"/>
                <a:gd name="T39" fmla="*/ 322 h 394"/>
                <a:gd name="T40" fmla="*/ 48 w 472"/>
                <a:gd name="T41" fmla="*/ 293 h 394"/>
                <a:gd name="T42" fmla="*/ 27 w 472"/>
                <a:gd name="T43" fmla="*/ 310 h 394"/>
                <a:gd name="T44" fmla="*/ 0 w 472"/>
                <a:gd name="T45" fmla="*/ 247 h 394"/>
                <a:gd name="T46" fmla="*/ 22 w 472"/>
                <a:gd name="T47" fmla="*/ 185 h 394"/>
                <a:gd name="T48" fmla="*/ 40 w 472"/>
                <a:gd name="T49" fmla="*/ 160 h 394"/>
                <a:gd name="T50" fmla="*/ 43 w 472"/>
                <a:gd name="T51" fmla="*/ 137 h 394"/>
                <a:gd name="T52" fmla="*/ 43 w 472"/>
                <a:gd name="T53" fmla="*/ 125 h 394"/>
                <a:gd name="T54" fmla="*/ 40 w 472"/>
                <a:gd name="T55" fmla="*/ 90 h 394"/>
                <a:gd name="T56" fmla="*/ 40 w 472"/>
                <a:gd name="T57" fmla="*/ 53 h 394"/>
                <a:gd name="T58" fmla="*/ 62 w 472"/>
                <a:gd name="T59" fmla="*/ 12 h 394"/>
                <a:gd name="T60" fmla="*/ 104 w 472"/>
                <a:gd name="T61" fmla="*/ 3 h 394"/>
                <a:gd name="T62" fmla="*/ 142 w 472"/>
                <a:gd name="T63" fmla="*/ 3 h 394"/>
                <a:gd name="T64" fmla="*/ 182 w 472"/>
                <a:gd name="T65" fmla="*/ 32 h 394"/>
                <a:gd name="T66" fmla="*/ 215 w 472"/>
                <a:gd name="T67" fmla="*/ 21 h 394"/>
                <a:gd name="T68" fmla="*/ 293 w 472"/>
                <a:gd name="T69" fmla="*/ 21 h 394"/>
                <a:gd name="T70" fmla="*/ 385 w 472"/>
                <a:gd name="T71" fmla="*/ 32 h 394"/>
                <a:gd name="T72" fmla="*/ 421 w 472"/>
                <a:gd name="T73" fmla="*/ 3 h 394"/>
                <a:gd name="T74" fmla="*/ 454 w 472"/>
                <a:gd name="T75" fmla="*/ 60 h 394"/>
                <a:gd name="T76" fmla="*/ 472 w 472"/>
                <a:gd name="T77" fmla="*/ 84 h 394"/>
                <a:gd name="T78" fmla="*/ 445 w 472"/>
                <a:gd name="T79" fmla="*/ 106 h 394"/>
                <a:gd name="T80" fmla="*/ 424 w 472"/>
                <a:gd name="T81" fmla="*/ 153 h 394"/>
                <a:gd name="T82" fmla="*/ 404 w 472"/>
                <a:gd name="T83" fmla="*/ 185 h 394"/>
                <a:gd name="T84" fmla="*/ 385 w 472"/>
                <a:gd name="T85" fmla="*/ 215 h 394"/>
                <a:gd name="T86" fmla="*/ 376 w 472"/>
                <a:gd name="T87" fmla="*/ 241 h 394"/>
                <a:gd name="T88" fmla="*/ 361 w 472"/>
                <a:gd name="T89" fmla="*/ 269 h 394"/>
                <a:gd name="T90" fmla="*/ 361 w 472"/>
                <a:gd name="T91" fmla="*/ 269 h 394"/>
                <a:gd name="T92" fmla="*/ 182 w 472"/>
                <a:gd name="T93" fmla="*/ 377 h 394"/>
                <a:gd name="T94" fmla="*/ 179 w 472"/>
                <a:gd name="T95" fmla="*/ 387 h 394"/>
                <a:gd name="T96" fmla="*/ 179 w 472"/>
                <a:gd name="T97" fmla="*/ 387 h 394"/>
                <a:gd name="T98" fmla="*/ 192 w 472"/>
                <a:gd name="T99" fmla="*/ 384 h 394"/>
                <a:gd name="T100" fmla="*/ 192 w 472"/>
                <a:gd name="T101" fmla="*/ 384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72" h="394">
                  <a:moveTo>
                    <a:pt x="361" y="269"/>
                  </a:moveTo>
                  <a:lnTo>
                    <a:pt x="361" y="269"/>
                  </a:lnTo>
                  <a:lnTo>
                    <a:pt x="364" y="278"/>
                  </a:lnTo>
                  <a:lnTo>
                    <a:pt x="352" y="284"/>
                  </a:lnTo>
                  <a:lnTo>
                    <a:pt x="352" y="293"/>
                  </a:lnTo>
                  <a:lnTo>
                    <a:pt x="343" y="303"/>
                  </a:lnTo>
                  <a:lnTo>
                    <a:pt x="333" y="303"/>
                  </a:lnTo>
                  <a:lnTo>
                    <a:pt x="333" y="291"/>
                  </a:lnTo>
                  <a:lnTo>
                    <a:pt x="312" y="278"/>
                  </a:lnTo>
                  <a:lnTo>
                    <a:pt x="312" y="284"/>
                  </a:lnTo>
                  <a:lnTo>
                    <a:pt x="300" y="284"/>
                  </a:lnTo>
                  <a:lnTo>
                    <a:pt x="293" y="282"/>
                  </a:lnTo>
                  <a:lnTo>
                    <a:pt x="284" y="291"/>
                  </a:lnTo>
                  <a:lnTo>
                    <a:pt x="282" y="291"/>
                  </a:lnTo>
                  <a:lnTo>
                    <a:pt x="277" y="300"/>
                  </a:lnTo>
                  <a:lnTo>
                    <a:pt x="265" y="310"/>
                  </a:lnTo>
                  <a:lnTo>
                    <a:pt x="246" y="324"/>
                  </a:lnTo>
                  <a:lnTo>
                    <a:pt x="246" y="340"/>
                  </a:lnTo>
                  <a:lnTo>
                    <a:pt x="243" y="354"/>
                  </a:lnTo>
                  <a:lnTo>
                    <a:pt x="234" y="372"/>
                  </a:lnTo>
                  <a:lnTo>
                    <a:pt x="230" y="374"/>
                  </a:lnTo>
                  <a:lnTo>
                    <a:pt x="222" y="366"/>
                  </a:lnTo>
                  <a:lnTo>
                    <a:pt x="225" y="374"/>
                  </a:lnTo>
                  <a:lnTo>
                    <a:pt x="222" y="377"/>
                  </a:lnTo>
                  <a:lnTo>
                    <a:pt x="201" y="384"/>
                  </a:lnTo>
                  <a:lnTo>
                    <a:pt x="194" y="377"/>
                  </a:lnTo>
                  <a:lnTo>
                    <a:pt x="194" y="374"/>
                  </a:lnTo>
                  <a:lnTo>
                    <a:pt x="192" y="377"/>
                  </a:lnTo>
                  <a:lnTo>
                    <a:pt x="182" y="377"/>
                  </a:lnTo>
                  <a:lnTo>
                    <a:pt x="173" y="372"/>
                  </a:lnTo>
                  <a:lnTo>
                    <a:pt x="179" y="384"/>
                  </a:lnTo>
                  <a:lnTo>
                    <a:pt x="173" y="384"/>
                  </a:lnTo>
                  <a:lnTo>
                    <a:pt x="170" y="374"/>
                  </a:lnTo>
                  <a:lnTo>
                    <a:pt x="170" y="374"/>
                  </a:lnTo>
                  <a:lnTo>
                    <a:pt x="173" y="387"/>
                  </a:lnTo>
                  <a:lnTo>
                    <a:pt x="164" y="387"/>
                  </a:lnTo>
                  <a:lnTo>
                    <a:pt x="164" y="372"/>
                  </a:lnTo>
                  <a:lnTo>
                    <a:pt x="164" y="387"/>
                  </a:lnTo>
                  <a:lnTo>
                    <a:pt x="161" y="387"/>
                  </a:lnTo>
                  <a:lnTo>
                    <a:pt x="161" y="377"/>
                  </a:lnTo>
                  <a:lnTo>
                    <a:pt x="161" y="384"/>
                  </a:lnTo>
                  <a:lnTo>
                    <a:pt x="161" y="387"/>
                  </a:lnTo>
                  <a:lnTo>
                    <a:pt x="142" y="394"/>
                  </a:lnTo>
                  <a:lnTo>
                    <a:pt x="149" y="384"/>
                  </a:lnTo>
                  <a:lnTo>
                    <a:pt x="142" y="384"/>
                  </a:lnTo>
                  <a:lnTo>
                    <a:pt x="140" y="387"/>
                  </a:lnTo>
                  <a:lnTo>
                    <a:pt x="133" y="394"/>
                  </a:lnTo>
                  <a:lnTo>
                    <a:pt x="121" y="384"/>
                  </a:lnTo>
                  <a:lnTo>
                    <a:pt x="112" y="366"/>
                  </a:lnTo>
                  <a:lnTo>
                    <a:pt x="109" y="356"/>
                  </a:lnTo>
                  <a:lnTo>
                    <a:pt x="112" y="356"/>
                  </a:lnTo>
                  <a:lnTo>
                    <a:pt x="109" y="356"/>
                  </a:lnTo>
                  <a:lnTo>
                    <a:pt x="109" y="347"/>
                  </a:lnTo>
                  <a:lnTo>
                    <a:pt x="119" y="340"/>
                  </a:lnTo>
                  <a:lnTo>
                    <a:pt x="112" y="344"/>
                  </a:lnTo>
                  <a:lnTo>
                    <a:pt x="104" y="344"/>
                  </a:lnTo>
                  <a:lnTo>
                    <a:pt x="100" y="340"/>
                  </a:lnTo>
                  <a:lnTo>
                    <a:pt x="112" y="333"/>
                  </a:lnTo>
                  <a:lnTo>
                    <a:pt x="100" y="340"/>
                  </a:lnTo>
                  <a:lnTo>
                    <a:pt x="88" y="322"/>
                  </a:lnTo>
                  <a:lnTo>
                    <a:pt x="73" y="310"/>
                  </a:lnTo>
                  <a:lnTo>
                    <a:pt x="31" y="303"/>
                  </a:lnTo>
                  <a:lnTo>
                    <a:pt x="48" y="293"/>
                  </a:lnTo>
                  <a:lnTo>
                    <a:pt x="34" y="300"/>
                  </a:lnTo>
                  <a:lnTo>
                    <a:pt x="34" y="300"/>
                  </a:lnTo>
                  <a:lnTo>
                    <a:pt x="27" y="310"/>
                  </a:lnTo>
                  <a:lnTo>
                    <a:pt x="3" y="310"/>
                  </a:lnTo>
                  <a:lnTo>
                    <a:pt x="3" y="278"/>
                  </a:lnTo>
                  <a:lnTo>
                    <a:pt x="0" y="247"/>
                  </a:lnTo>
                  <a:lnTo>
                    <a:pt x="3" y="197"/>
                  </a:lnTo>
                  <a:lnTo>
                    <a:pt x="19" y="197"/>
                  </a:lnTo>
                  <a:lnTo>
                    <a:pt x="22" y="185"/>
                  </a:lnTo>
                  <a:lnTo>
                    <a:pt x="31" y="169"/>
                  </a:lnTo>
                  <a:lnTo>
                    <a:pt x="27" y="166"/>
                  </a:lnTo>
                  <a:lnTo>
                    <a:pt x="40" y="160"/>
                  </a:lnTo>
                  <a:lnTo>
                    <a:pt x="43" y="153"/>
                  </a:lnTo>
                  <a:lnTo>
                    <a:pt x="40" y="146"/>
                  </a:lnTo>
                  <a:lnTo>
                    <a:pt x="43" y="137"/>
                  </a:lnTo>
                  <a:lnTo>
                    <a:pt x="48" y="143"/>
                  </a:lnTo>
                  <a:lnTo>
                    <a:pt x="48" y="134"/>
                  </a:lnTo>
                  <a:lnTo>
                    <a:pt x="43" y="125"/>
                  </a:lnTo>
                  <a:lnTo>
                    <a:pt x="43" y="113"/>
                  </a:lnTo>
                  <a:lnTo>
                    <a:pt x="34" y="97"/>
                  </a:lnTo>
                  <a:lnTo>
                    <a:pt x="40" y="90"/>
                  </a:lnTo>
                  <a:lnTo>
                    <a:pt x="43" y="84"/>
                  </a:lnTo>
                  <a:lnTo>
                    <a:pt x="40" y="81"/>
                  </a:lnTo>
                  <a:lnTo>
                    <a:pt x="40" y="53"/>
                  </a:lnTo>
                  <a:lnTo>
                    <a:pt x="53" y="44"/>
                  </a:lnTo>
                  <a:lnTo>
                    <a:pt x="58" y="35"/>
                  </a:lnTo>
                  <a:lnTo>
                    <a:pt x="62" y="12"/>
                  </a:lnTo>
                  <a:lnTo>
                    <a:pt x="73" y="3"/>
                  </a:lnTo>
                  <a:lnTo>
                    <a:pt x="88" y="3"/>
                  </a:lnTo>
                  <a:lnTo>
                    <a:pt x="104" y="3"/>
                  </a:lnTo>
                  <a:lnTo>
                    <a:pt x="112" y="0"/>
                  </a:lnTo>
                  <a:lnTo>
                    <a:pt x="140" y="9"/>
                  </a:lnTo>
                  <a:lnTo>
                    <a:pt x="142" y="3"/>
                  </a:lnTo>
                  <a:lnTo>
                    <a:pt x="170" y="35"/>
                  </a:lnTo>
                  <a:lnTo>
                    <a:pt x="173" y="35"/>
                  </a:lnTo>
                  <a:lnTo>
                    <a:pt x="182" y="32"/>
                  </a:lnTo>
                  <a:lnTo>
                    <a:pt x="185" y="32"/>
                  </a:lnTo>
                  <a:lnTo>
                    <a:pt x="204" y="18"/>
                  </a:lnTo>
                  <a:lnTo>
                    <a:pt x="215" y="21"/>
                  </a:lnTo>
                  <a:lnTo>
                    <a:pt x="239" y="35"/>
                  </a:lnTo>
                  <a:lnTo>
                    <a:pt x="277" y="44"/>
                  </a:lnTo>
                  <a:lnTo>
                    <a:pt x="293" y="21"/>
                  </a:lnTo>
                  <a:lnTo>
                    <a:pt x="315" y="18"/>
                  </a:lnTo>
                  <a:lnTo>
                    <a:pt x="346" y="18"/>
                  </a:lnTo>
                  <a:lnTo>
                    <a:pt x="385" y="32"/>
                  </a:lnTo>
                  <a:lnTo>
                    <a:pt x="404" y="12"/>
                  </a:lnTo>
                  <a:lnTo>
                    <a:pt x="416" y="12"/>
                  </a:lnTo>
                  <a:lnTo>
                    <a:pt x="421" y="3"/>
                  </a:lnTo>
                  <a:lnTo>
                    <a:pt x="433" y="3"/>
                  </a:lnTo>
                  <a:lnTo>
                    <a:pt x="452" y="32"/>
                  </a:lnTo>
                  <a:lnTo>
                    <a:pt x="454" y="60"/>
                  </a:lnTo>
                  <a:lnTo>
                    <a:pt x="466" y="62"/>
                  </a:lnTo>
                  <a:lnTo>
                    <a:pt x="472" y="65"/>
                  </a:lnTo>
                  <a:lnTo>
                    <a:pt x="472" y="84"/>
                  </a:lnTo>
                  <a:lnTo>
                    <a:pt x="472" y="94"/>
                  </a:lnTo>
                  <a:lnTo>
                    <a:pt x="454" y="106"/>
                  </a:lnTo>
                  <a:lnTo>
                    <a:pt x="445" y="106"/>
                  </a:lnTo>
                  <a:lnTo>
                    <a:pt x="437" y="116"/>
                  </a:lnTo>
                  <a:lnTo>
                    <a:pt x="428" y="134"/>
                  </a:lnTo>
                  <a:lnTo>
                    <a:pt x="424" y="153"/>
                  </a:lnTo>
                  <a:lnTo>
                    <a:pt x="421" y="157"/>
                  </a:lnTo>
                  <a:lnTo>
                    <a:pt x="416" y="175"/>
                  </a:lnTo>
                  <a:lnTo>
                    <a:pt x="404" y="185"/>
                  </a:lnTo>
                  <a:lnTo>
                    <a:pt x="397" y="209"/>
                  </a:lnTo>
                  <a:lnTo>
                    <a:pt x="394" y="215"/>
                  </a:lnTo>
                  <a:lnTo>
                    <a:pt x="385" y="215"/>
                  </a:lnTo>
                  <a:lnTo>
                    <a:pt x="385" y="219"/>
                  </a:lnTo>
                  <a:lnTo>
                    <a:pt x="376" y="222"/>
                  </a:lnTo>
                  <a:lnTo>
                    <a:pt x="376" y="241"/>
                  </a:lnTo>
                  <a:lnTo>
                    <a:pt x="366" y="250"/>
                  </a:lnTo>
                  <a:lnTo>
                    <a:pt x="366" y="259"/>
                  </a:lnTo>
                  <a:lnTo>
                    <a:pt x="361" y="269"/>
                  </a:lnTo>
                  <a:lnTo>
                    <a:pt x="361" y="269"/>
                  </a:lnTo>
                  <a:lnTo>
                    <a:pt x="361" y="269"/>
                  </a:lnTo>
                  <a:lnTo>
                    <a:pt x="361" y="269"/>
                  </a:lnTo>
                  <a:lnTo>
                    <a:pt x="361" y="269"/>
                  </a:lnTo>
                  <a:close/>
                  <a:moveTo>
                    <a:pt x="179" y="387"/>
                  </a:moveTo>
                  <a:lnTo>
                    <a:pt x="182" y="377"/>
                  </a:lnTo>
                  <a:lnTo>
                    <a:pt x="185" y="384"/>
                  </a:lnTo>
                  <a:lnTo>
                    <a:pt x="179" y="387"/>
                  </a:lnTo>
                  <a:lnTo>
                    <a:pt x="179" y="387"/>
                  </a:lnTo>
                  <a:lnTo>
                    <a:pt x="179" y="387"/>
                  </a:lnTo>
                  <a:lnTo>
                    <a:pt x="179" y="387"/>
                  </a:lnTo>
                  <a:lnTo>
                    <a:pt x="179" y="387"/>
                  </a:lnTo>
                  <a:close/>
                  <a:moveTo>
                    <a:pt x="192" y="384"/>
                  </a:moveTo>
                  <a:lnTo>
                    <a:pt x="185" y="384"/>
                  </a:lnTo>
                  <a:lnTo>
                    <a:pt x="192" y="384"/>
                  </a:lnTo>
                  <a:lnTo>
                    <a:pt x="192" y="384"/>
                  </a:lnTo>
                  <a:lnTo>
                    <a:pt x="192" y="384"/>
                  </a:lnTo>
                  <a:lnTo>
                    <a:pt x="192" y="384"/>
                  </a:lnTo>
                  <a:lnTo>
                    <a:pt x="192" y="384"/>
                  </a:lnTo>
                  <a:lnTo>
                    <a:pt x="192" y="38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54" name="Freeform 40">
              <a:extLst>
                <a:ext uri="{FF2B5EF4-FFF2-40B4-BE49-F238E27FC236}">
                  <a16:creationId xmlns:a16="http://schemas.microsoft.com/office/drawing/2014/main" id="{A7C8421A-D254-42B2-94FF-31D9630CF83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90182" y="4767051"/>
              <a:ext cx="114222" cy="65004"/>
            </a:xfrm>
            <a:custGeom>
              <a:avLst/>
              <a:gdLst>
                <a:gd name="T0" fmla="*/ 21 w 123"/>
                <a:gd name="T1" fmla="*/ 9 h 70"/>
                <a:gd name="T2" fmla="*/ 61 w 123"/>
                <a:gd name="T3" fmla="*/ 0 h 70"/>
                <a:gd name="T4" fmla="*/ 116 w 123"/>
                <a:gd name="T5" fmla="*/ 0 h 70"/>
                <a:gd name="T6" fmla="*/ 106 w 123"/>
                <a:gd name="T7" fmla="*/ 21 h 70"/>
                <a:gd name="T8" fmla="*/ 116 w 123"/>
                <a:gd name="T9" fmla="*/ 40 h 70"/>
                <a:gd name="T10" fmla="*/ 94 w 123"/>
                <a:gd name="T11" fmla="*/ 40 h 70"/>
                <a:gd name="T12" fmla="*/ 77 w 123"/>
                <a:gd name="T13" fmla="*/ 47 h 70"/>
                <a:gd name="T14" fmla="*/ 65 w 123"/>
                <a:gd name="T15" fmla="*/ 64 h 70"/>
                <a:gd name="T16" fmla="*/ 61 w 123"/>
                <a:gd name="T17" fmla="*/ 64 h 70"/>
                <a:gd name="T18" fmla="*/ 55 w 123"/>
                <a:gd name="T19" fmla="*/ 61 h 70"/>
                <a:gd name="T20" fmla="*/ 51 w 123"/>
                <a:gd name="T21" fmla="*/ 52 h 70"/>
                <a:gd name="T22" fmla="*/ 46 w 123"/>
                <a:gd name="T23" fmla="*/ 52 h 70"/>
                <a:gd name="T24" fmla="*/ 65 w 123"/>
                <a:gd name="T25" fmla="*/ 43 h 70"/>
                <a:gd name="T26" fmla="*/ 51 w 123"/>
                <a:gd name="T27" fmla="*/ 43 h 70"/>
                <a:gd name="T28" fmla="*/ 46 w 123"/>
                <a:gd name="T29" fmla="*/ 40 h 70"/>
                <a:gd name="T30" fmla="*/ 61 w 123"/>
                <a:gd name="T31" fmla="*/ 30 h 70"/>
                <a:gd name="T32" fmla="*/ 65 w 123"/>
                <a:gd name="T33" fmla="*/ 30 h 70"/>
                <a:gd name="T34" fmla="*/ 61 w 123"/>
                <a:gd name="T35" fmla="*/ 30 h 70"/>
                <a:gd name="T36" fmla="*/ 43 w 123"/>
                <a:gd name="T37" fmla="*/ 33 h 70"/>
                <a:gd name="T38" fmla="*/ 34 w 123"/>
                <a:gd name="T39" fmla="*/ 25 h 70"/>
                <a:gd name="T40" fmla="*/ 21 w 123"/>
                <a:gd name="T41" fmla="*/ 30 h 70"/>
                <a:gd name="T42" fmla="*/ 12 w 123"/>
                <a:gd name="T43" fmla="*/ 21 h 70"/>
                <a:gd name="T44" fmla="*/ 5 w 123"/>
                <a:gd name="T45" fmla="*/ 16 h 70"/>
                <a:gd name="T46" fmla="*/ 0 w 123"/>
                <a:gd name="T47" fmla="*/ 12 h 70"/>
                <a:gd name="T48" fmla="*/ 0 w 123"/>
                <a:gd name="T49" fmla="*/ 12 h 70"/>
                <a:gd name="T50" fmla="*/ 15 w 123"/>
                <a:gd name="T51" fmla="*/ 33 h 70"/>
                <a:gd name="T52" fmla="*/ 21 w 123"/>
                <a:gd name="T53" fmla="*/ 30 h 70"/>
                <a:gd name="T54" fmla="*/ 15 w 123"/>
                <a:gd name="T55" fmla="*/ 33 h 70"/>
                <a:gd name="T56" fmla="*/ 15 w 123"/>
                <a:gd name="T57" fmla="*/ 33 h 70"/>
                <a:gd name="T58" fmla="*/ 24 w 123"/>
                <a:gd name="T59" fmla="*/ 33 h 70"/>
                <a:gd name="T60" fmla="*/ 31 w 123"/>
                <a:gd name="T61" fmla="*/ 30 h 70"/>
                <a:gd name="T62" fmla="*/ 24 w 123"/>
                <a:gd name="T63" fmla="*/ 33 h 70"/>
                <a:gd name="T64" fmla="*/ 24 w 123"/>
                <a:gd name="T65" fmla="*/ 33 h 70"/>
                <a:gd name="T66" fmla="*/ 24 w 123"/>
                <a:gd name="T67" fmla="*/ 47 h 70"/>
                <a:gd name="T68" fmla="*/ 31 w 123"/>
                <a:gd name="T69" fmla="*/ 43 h 70"/>
                <a:gd name="T70" fmla="*/ 24 w 123"/>
                <a:gd name="T71" fmla="*/ 47 h 70"/>
                <a:gd name="T72" fmla="*/ 24 w 123"/>
                <a:gd name="T73" fmla="*/ 47 h 70"/>
                <a:gd name="T74" fmla="*/ 24 w 123"/>
                <a:gd name="T75" fmla="*/ 47 h 70"/>
                <a:gd name="T76" fmla="*/ 12 w 123"/>
                <a:gd name="T77" fmla="*/ 43 h 70"/>
                <a:gd name="T78" fmla="*/ 15 w 123"/>
                <a:gd name="T79" fmla="*/ 47 h 70"/>
                <a:gd name="T80" fmla="*/ 15 w 123"/>
                <a:gd name="T81" fmla="*/ 47 h 70"/>
                <a:gd name="T82" fmla="*/ 15 w 123"/>
                <a:gd name="T83" fmla="*/ 47 h 70"/>
                <a:gd name="T84" fmla="*/ 15 w 123"/>
                <a:gd name="T85" fmla="*/ 47 h 70"/>
                <a:gd name="T86" fmla="*/ 15 w 123"/>
                <a:gd name="T87" fmla="*/ 47 h 70"/>
                <a:gd name="T88" fmla="*/ 15 w 123"/>
                <a:gd name="T89" fmla="*/ 47 h 70"/>
                <a:gd name="T90" fmla="*/ 15 w 123"/>
                <a:gd name="T91" fmla="*/ 47 h 70"/>
                <a:gd name="T92" fmla="*/ 15 w 123"/>
                <a:gd name="T93" fmla="*/ 55 h 70"/>
                <a:gd name="T94" fmla="*/ 15 w 123"/>
                <a:gd name="T95" fmla="*/ 55 h 70"/>
                <a:gd name="T96" fmla="*/ 15 w 123"/>
                <a:gd name="T97" fmla="*/ 55 h 70"/>
                <a:gd name="T98" fmla="*/ 15 w 123"/>
                <a:gd name="T99" fmla="*/ 55 h 70"/>
                <a:gd name="T100" fmla="*/ 15 w 123"/>
                <a:gd name="T101" fmla="*/ 61 h 70"/>
                <a:gd name="T102" fmla="*/ 24 w 123"/>
                <a:gd name="T103" fmla="*/ 64 h 70"/>
                <a:gd name="T104" fmla="*/ 21 w 123"/>
                <a:gd name="T105" fmla="*/ 64 h 70"/>
                <a:gd name="T106" fmla="*/ 21 w 123"/>
                <a:gd name="T107" fmla="*/ 64 h 70"/>
                <a:gd name="T108" fmla="*/ 24 w 123"/>
                <a:gd name="T109" fmla="*/ 64 h 70"/>
                <a:gd name="T110" fmla="*/ 31 w 123"/>
                <a:gd name="T111" fmla="*/ 55 h 70"/>
                <a:gd name="T112" fmla="*/ 24 w 123"/>
                <a:gd name="T113" fmla="*/ 64 h 70"/>
                <a:gd name="T114" fmla="*/ 24 w 123"/>
                <a:gd name="T115" fmla="*/ 64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3" h="70">
                  <a:moveTo>
                    <a:pt x="0" y="12"/>
                  </a:moveTo>
                  <a:lnTo>
                    <a:pt x="21" y="9"/>
                  </a:lnTo>
                  <a:lnTo>
                    <a:pt x="36" y="9"/>
                  </a:lnTo>
                  <a:lnTo>
                    <a:pt x="61" y="0"/>
                  </a:lnTo>
                  <a:lnTo>
                    <a:pt x="94" y="0"/>
                  </a:lnTo>
                  <a:lnTo>
                    <a:pt x="116" y="0"/>
                  </a:lnTo>
                  <a:lnTo>
                    <a:pt x="123" y="12"/>
                  </a:lnTo>
                  <a:lnTo>
                    <a:pt x="106" y="21"/>
                  </a:lnTo>
                  <a:lnTo>
                    <a:pt x="116" y="25"/>
                  </a:lnTo>
                  <a:lnTo>
                    <a:pt x="116" y="40"/>
                  </a:lnTo>
                  <a:lnTo>
                    <a:pt x="106" y="40"/>
                  </a:lnTo>
                  <a:lnTo>
                    <a:pt x="94" y="40"/>
                  </a:lnTo>
                  <a:lnTo>
                    <a:pt x="85" y="43"/>
                  </a:lnTo>
                  <a:lnTo>
                    <a:pt x="77" y="47"/>
                  </a:lnTo>
                  <a:lnTo>
                    <a:pt x="65" y="70"/>
                  </a:lnTo>
                  <a:lnTo>
                    <a:pt x="65" y="64"/>
                  </a:lnTo>
                  <a:lnTo>
                    <a:pt x="65" y="55"/>
                  </a:lnTo>
                  <a:lnTo>
                    <a:pt x="61" y="64"/>
                  </a:lnTo>
                  <a:lnTo>
                    <a:pt x="61" y="55"/>
                  </a:lnTo>
                  <a:lnTo>
                    <a:pt x="55" y="61"/>
                  </a:lnTo>
                  <a:lnTo>
                    <a:pt x="51" y="61"/>
                  </a:lnTo>
                  <a:lnTo>
                    <a:pt x="51" y="52"/>
                  </a:lnTo>
                  <a:lnTo>
                    <a:pt x="55" y="47"/>
                  </a:lnTo>
                  <a:lnTo>
                    <a:pt x="46" y="52"/>
                  </a:lnTo>
                  <a:lnTo>
                    <a:pt x="55" y="43"/>
                  </a:lnTo>
                  <a:lnTo>
                    <a:pt x="65" y="43"/>
                  </a:lnTo>
                  <a:lnTo>
                    <a:pt x="55" y="40"/>
                  </a:lnTo>
                  <a:lnTo>
                    <a:pt x="51" y="43"/>
                  </a:lnTo>
                  <a:lnTo>
                    <a:pt x="51" y="40"/>
                  </a:lnTo>
                  <a:lnTo>
                    <a:pt x="46" y="40"/>
                  </a:lnTo>
                  <a:lnTo>
                    <a:pt x="51" y="30"/>
                  </a:lnTo>
                  <a:lnTo>
                    <a:pt x="61" y="30"/>
                  </a:lnTo>
                  <a:lnTo>
                    <a:pt x="68" y="33"/>
                  </a:lnTo>
                  <a:lnTo>
                    <a:pt x="65" y="30"/>
                  </a:lnTo>
                  <a:lnTo>
                    <a:pt x="68" y="25"/>
                  </a:lnTo>
                  <a:lnTo>
                    <a:pt x="61" y="30"/>
                  </a:lnTo>
                  <a:lnTo>
                    <a:pt x="51" y="25"/>
                  </a:lnTo>
                  <a:lnTo>
                    <a:pt x="43" y="33"/>
                  </a:lnTo>
                  <a:lnTo>
                    <a:pt x="31" y="33"/>
                  </a:lnTo>
                  <a:lnTo>
                    <a:pt x="34" y="25"/>
                  </a:lnTo>
                  <a:lnTo>
                    <a:pt x="36" y="25"/>
                  </a:lnTo>
                  <a:lnTo>
                    <a:pt x="21" y="30"/>
                  </a:lnTo>
                  <a:lnTo>
                    <a:pt x="15" y="30"/>
                  </a:lnTo>
                  <a:lnTo>
                    <a:pt x="12" y="21"/>
                  </a:lnTo>
                  <a:lnTo>
                    <a:pt x="24" y="12"/>
                  </a:lnTo>
                  <a:lnTo>
                    <a:pt x="5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  <a:moveTo>
                    <a:pt x="15" y="33"/>
                  </a:moveTo>
                  <a:lnTo>
                    <a:pt x="15" y="25"/>
                  </a:lnTo>
                  <a:lnTo>
                    <a:pt x="21" y="30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3"/>
                  </a:lnTo>
                  <a:close/>
                  <a:moveTo>
                    <a:pt x="24" y="33"/>
                  </a:moveTo>
                  <a:lnTo>
                    <a:pt x="21" y="30"/>
                  </a:lnTo>
                  <a:lnTo>
                    <a:pt x="31" y="30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3"/>
                  </a:lnTo>
                  <a:close/>
                  <a:moveTo>
                    <a:pt x="24" y="47"/>
                  </a:moveTo>
                  <a:lnTo>
                    <a:pt x="24" y="43"/>
                  </a:lnTo>
                  <a:lnTo>
                    <a:pt x="31" y="43"/>
                  </a:lnTo>
                  <a:lnTo>
                    <a:pt x="31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close/>
                  <a:moveTo>
                    <a:pt x="15" y="47"/>
                  </a:moveTo>
                  <a:lnTo>
                    <a:pt x="12" y="43"/>
                  </a:lnTo>
                  <a:lnTo>
                    <a:pt x="15" y="43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close/>
                  <a:moveTo>
                    <a:pt x="15" y="47"/>
                  </a:moveTo>
                  <a:lnTo>
                    <a:pt x="15" y="47"/>
                  </a:lnTo>
                  <a:lnTo>
                    <a:pt x="21" y="43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lnTo>
                    <a:pt x="15" y="47"/>
                  </a:lnTo>
                  <a:close/>
                  <a:moveTo>
                    <a:pt x="15" y="55"/>
                  </a:moveTo>
                  <a:lnTo>
                    <a:pt x="15" y="55"/>
                  </a:lnTo>
                  <a:lnTo>
                    <a:pt x="21" y="55"/>
                  </a:lnTo>
                  <a:lnTo>
                    <a:pt x="15" y="55"/>
                  </a:lnTo>
                  <a:lnTo>
                    <a:pt x="15" y="55"/>
                  </a:lnTo>
                  <a:lnTo>
                    <a:pt x="15" y="55"/>
                  </a:lnTo>
                  <a:lnTo>
                    <a:pt x="15" y="55"/>
                  </a:lnTo>
                  <a:lnTo>
                    <a:pt x="15" y="55"/>
                  </a:lnTo>
                  <a:close/>
                  <a:moveTo>
                    <a:pt x="21" y="64"/>
                  </a:moveTo>
                  <a:lnTo>
                    <a:pt x="15" y="61"/>
                  </a:lnTo>
                  <a:lnTo>
                    <a:pt x="24" y="55"/>
                  </a:lnTo>
                  <a:lnTo>
                    <a:pt x="24" y="64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21" y="64"/>
                  </a:lnTo>
                  <a:lnTo>
                    <a:pt x="21" y="64"/>
                  </a:lnTo>
                  <a:close/>
                  <a:moveTo>
                    <a:pt x="24" y="64"/>
                  </a:moveTo>
                  <a:lnTo>
                    <a:pt x="24" y="61"/>
                  </a:lnTo>
                  <a:lnTo>
                    <a:pt x="31" y="55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55" name="Freeform 41">
              <a:extLst>
                <a:ext uri="{FF2B5EF4-FFF2-40B4-BE49-F238E27FC236}">
                  <a16:creationId xmlns:a16="http://schemas.microsoft.com/office/drawing/2014/main" id="{0624FF48-330A-49D9-ACB9-3777815892BB}"/>
                </a:ext>
              </a:extLst>
            </p:cNvPr>
            <p:cNvSpPr>
              <a:spLocks/>
            </p:cNvSpPr>
            <p:nvPr/>
          </p:nvSpPr>
          <p:spPr bwMode="gray">
            <a:xfrm>
              <a:off x="7249653" y="5280586"/>
              <a:ext cx="75219" cy="65004"/>
            </a:xfrm>
            <a:custGeom>
              <a:avLst/>
              <a:gdLst>
                <a:gd name="T0" fmla="*/ 9 w 81"/>
                <a:gd name="T1" fmla="*/ 70 h 70"/>
                <a:gd name="T2" fmla="*/ 5 w 81"/>
                <a:gd name="T3" fmla="*/ 66 h 70"/>
                <a:gd name="T4" fmla="*/ 0 w 81"/>
                <a:gd name="T5" fmla="*/ 54 h 70"/>
                <a:gd name="T6" fmla="*/ 12 w 81"/>
                <a:gd name="T7" fmla="*/ 49 h 70"/>
                <a:gd name="T8" fmla="*/ 12 w 81"/>
                <a:gd name="T9" fmla="*/ 36 h 70"/>
                <a:gd name="T10" fmla="*/ 17 w 81"/>
                <a:gd name="T11" fmla="*/ 24 h 70"/>
                <a:gd name="T12" fmla="*/ 30 w 81"/>
                <a:gd name="T13" fmla="*/ 14 h 70"/>
                <a:gd name="T14" fmla="*/ 38 w 81"/>
                <a:gd name="T15" fmla="*/ 14 h 70"/>
                <a:gd name="T16" fmla="*/ 48 w 81"/>
                <a:gd name="T17" fmla="*/ 19 h 70"/>
                <a:gd name="T18" fmla="*/ 60 w 81"/>
                <a:gd name="T19" fmla="*/ 0 h 70"/>
                <a:gd name="T20" fmla="*/ 66 w 81"/>
                <a:gd name="T21" fmla="*/ 0 h 70"/>
                <a:gd name="T22" fmla="*/ 69 w 81"/>
                <a:gd name="T23" fmla="*/ 14 h 70"/>
                <a:gd name="T24" fmla="*/ 73 w 81"/>
                <a:gd name="T25" fmla="*/ 19 h 70"/>
                <a:gd name="T26" fmla="*/ 78 w 81"/>
                <a:gd name="T27" fmla="*/ 28 h 70"/>
                <a:gd name="T28" fmla="*/ 78 w 81"/>
                <a:gd name="T29" fmla="*/ 36 h 70"/>
                <a:gd name="T30" fmla="*/ 81 w 81"/>
                <a:gd name="T31" fmla="*/ 40 h 70"/>
                <a:gd name="T32" fmla="*/ 78 w 81"/>
                <a:gd name="T33" fmla="*/ 54 h 70"/>
                <a:gd name="T34" fmla="*/ 69 w 81"/>
                <a:gd name="T35" fmla="*/ 54 h 70"/>
                <a:gd name="T36" fmla="*/ 60 w 81"/>
                <a:gd name="T37" fmla="*/ 54 h 70"/>
                <a:gd name="T38" fmla="*/ 52 w 81"/>
                <a:gd name="T39" fmla="*/ 58 h 70"/>
                <a:gd name="T40" fmla="*/ 42 w 81"/>
                <a:gd name="T41" fmla="*/ 54 h 70"/>
                <a:gd name="T42" fmla="*/ 38 w 81"/>
                <a:gd name="T43" fmla="*/ 70 h 70"/>
                <a:gd name="T44" fmla="*/ 21 w 81"/>
                <a:gd name="T45" fmla="*/ 70 h 70"/>
                <a:gd name="T46" fmla="*/ 21 w 81"/>
                <a:gd name="T47" fmla="*/ 66 h 70"/>
                <a:gd name="T48" fmla="*/ 12 w 81"/>
                <a:gd name="T49" fmla="*/ 61 h 70"/>
                <a:gd name="T50" fmla="*/ 9 w 81"/>
                <a:gd name="T51" fmla="*/ 61 h 70"/>
                <a:gd name="T52" fmla="*/ 9 w 81"/>
                <a:gd name="T53" fmla="*/ 70 h 70"/>
                <a:gd name="T54" fmla="*/ 9 w 81"/>
                <a:gd name="T55" fmla="*/ 70 h 70"/>
                <a:gd name="T56" fmla="*/ 9 w 81"/>
                <a:gd name="T57" fmla="*/ 70 h 70"/>
                <a:gd name="T58" fmla="*/ 9 w 81"/>
                <a:gd name="T59" fmla="*/ 70 h 70"/>
                <a:gd name="T60" fmla="*/ 9 w 81"/>
                <a:gd name="T61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1" h="70">
                  <a:moveTo>
                    <a:pt x="9" y="70"/>
                  </a:moveTo>
                  <a:lnTo>
                    <a:pt x="5" y="66"/>
                  </a:lnTo>
                  <a:lnTo>
                    <a:pt x="0" y="54"/>
                  </a:lnTo>
                  <a:lnTo>
                    <a:pt x="12" y="49"/>
                  </a:lnTo>
                  <a:lnTo>
                    <a:pt x="12" y="36"/>
                  </a:lnTo>
                  <a:lnTo>
                    <a:pt x="17" y="24"/>
                  </a:lnTo>
                  <a:lnTo>
                    <a:pt x="30" y="14"/>
                  </a:lnTo>
                  <a:lnTo>
                    <a:pt x="38" y="14"/>
                  </a:lnTo>
                  <a:lnTo>
                    <a:pt x="48" y="19"/>
                  </a:lnTo>
                  <a:lnTo>
                    <a:pt x="60" y="0"/>
                  </a:lnTo>
                  <a:lnTo>
                    <a:pt x="66" y="0"/>
                  </a:lnTo>
                  <a:lnTo>
                    <a:pt x="69" y="14"/>
                  </a:lnTo>
                  <a:lnTo>
                    <a:pt x="73" y="19"/>
                  </a:lnTo>
                  <a:lnTo>
                    <a:pt x="78" y="28"/>
                  </a:lnTo>
                  <a:lnTo>
                    <a:pt x="78" y="36"/>
                  </a:lnTo>
                  <a:lnTo>
                    <a:pt x="81" y="40"/>
                  </a:lnTo>
                  <a:lnTo>
                    <a:pt x="78" y="54"/>
                  </a:lnTo>
                  <a:lnTo>
                    <a:pt x="69" y="54"/>
                  </a:lnTo>
                  <a:lnTo>
                    <a:pt x="60" y="54"/>
                  </a:lnTo>
                  <a:lnTo>
                    <a:pt x="52" y="58"/>
                  </a:lnTo>
                  <a:lnTo>
                    <a:pt x="42" y="54"/>
                  </a:lnTo>
                  <a:lnTo>
                    <a:pt x="38" y="70"/>
                  </a:lnTo>
                  <a:lnTo>
                    <a:pt x="21" y="70"/>
                  </a:lnTo>
                  <a:lnTo>
                    <a:pt x="21" y="66"/>
                  </a:lnTo>
                  <a:lnTo>
                    <a:pt x="12" y="61"/>
                  </a:lnTo>
                  <a:lnTo>
                    <a:pt x="9" y="61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56" name="Freeform 42">
              <a:extLst>
                <a:ext uri="{FF2B5EF4-FFF2-40B4-BE49-F238E27FC236}">
                  <a16:creationId xmlns:a16="http://schemas.microsoft.com/office/drawing/2014/main" id="{016AFE50-0111-4FC9-A62C-F0A5A4969FEC}"/>
                </a:ext>
              </a:extLst>
            </p:cNvPr>
            <p:cNvSpPr>
              <a:spLocks/>
            </p:cNvSpPr>
            <p:nvPr/>
          </p:nvSpPr>
          <p:spPr bwMode="gray">
            <a:xfrm>
              <a:off x="6802051" y="6081997"/>
              <a:ext cx="598969" cy="516321"/>
            </a:xfrm>
            <a:custGeom>
              <a:avLst/>
              <a:gdLst>
                <a:gd name="T0" fmla="*/ 170 w 645"/>
                <a:gd name="T1" fmla="*/ 162 h 556"/>
                <a:gd name="T2" fmla="*/ 163 w 645"/>
                <a:gd name="T3" fmla="*/ 199 h 556"/>
                <a:gd name="T4" fmla="*/ 218 w 645"/>
                <a:gd name="T5" fmla="*/ 196 h 556"/>
                <a:gd name="T6" fmla="*/ 248 w 645"/>
                <a:gd name="T7" fmla="*/ 146 h 556"/>
                <a:gd name="T8" fmla="*/ 291 w 645"/>
                <a:gd name="T9" fmla="*/ 153 h 556"/>
                <a:gd name="T10" fmla="*/ 321 w 645"/>
                <a:gd name="T11" fmla="*/ 162 h 556"/>
                <a:gd name="T12" fmla="*/ 370 w 645"/>
                <a:gd name="T13" fmla="*/ 112 h 556"/>
                <a:gd name="T14" fmla="*/ 412 w 645"/>
                <a:gd name="T15" fmla="*/ 69 h 556"/>
                <a:gd name="T16" fmla="*/ 436 w 645"/>
                <a:gd name="T17" fmla="*/ 51 h 556"/>
                <a:gd name="T18" fmla="*/ 490 w 645"/>
                <a:gd name="T19" fmla="*/ 13 h 556"/>
                <a:gd name="T20" fmla="*/ 521 w 645"/>
                <a:gd name="T21" fmla="*/ 0 h 556"/>
                <a:gd name="T22" fmla="*/ 584 w 645"/>
                <a:gd name="T23" fmla="*/ 13 h 556"/>
                <a:gd name="T24" fmla="*/ 605 w 645"/>
                <a:gd name="T25" fmla="*/ 81 h 556"/>
                <a:gd name="T26" fmla="*/ 605 w 645"/>
                <a:gd name="T27" fmla="*/ 164 h 556"/>
                <a:gd name="T28" fmla="*/ 575 w 645"/>
                <a:gd name="T29" fmla="*/ 164 h 556"/>
                <a:gd name="T30" fmla="*/ 567 w 645"/>
                <a:gd name="T31" fmla="*/ 199 h 556"/>
                <a:gd name="T32" fmla="*/ 612 w 645"/>
                <a:gd name="T33" fmla="*/ 224 h 556"/>
                <a:gd name="T34" fmla="*/ 645 w 645"/>
                <a:gd name="T35" fmla="*/ 205 h 556"/>
                <a:gd name="T36" fmla="*/ 603 w 645"/>
                <a:gd name="T37" fmla="*/ 293 h 556"/>
                <a:gd name="T38" fmla="*/ 572 w 645"/>
                <a:gd name="T39" fmla="*/ 339 h 556"/>
                <a:gd name="T40" fmla="*/ 473 w 645"/>
                <a:gd name="T41" fmla="*/ 457 h 556"/>
                <a:gd name="T42" fmla="*/ 394 w 645"/>
                <a:gd name="T43" fmla="*/ 510 h 556"/>
                <a:gd name="T44" fmla="*/ 363 w 645"/>
                <a:gd name="T45" fmla="*/ 519 h 556"/>
                <a:gd name="T46" fmla="*/ 330 w 645"/>
                <a:gd name="T47" fmla="*/ 529 h 556"/>
                <a:gd name="T48" fmla="*/ 269 w 645"/>
                <a:gd name="T49" fmla="*/ 526 h 556"/>
                <a:gd name="T50" fmla="*/ 208 w 645"/>
                <a:gd name="T51" fmla="*/ 538 h 556"/>
                <a:gd name="T52" fmla="*/ 172 w 645"/>
                <a:gd name="T53" fmla="*/ 538 h 556"/>
                <a:gd name="T54" fmla="*/ 139 w 645"/>
                <a:gd name="T55" fmla="*/ 556 h 556"/>
                <a:gd name="T56" fmla="*/ 112 w 645"/>
                <a:gd name="T57" fmla="*/ 540 h 556"/>
                <a:gd name="T58" fmla="*/ 91 w 645"/>
                <a:gd name="T59" fmla="*/ 529 h 556"/>
                <a:gd name="T60" fmla="*/ 79 w 645"/>
                <a:gd name="T61" fmla="*/ 538 h 556"/>
                <a:gd name="T62" fmla="*/ 79 w 645"/>
                <a:gd name="T63" fmla="*/ 517 h 556"/>
                <a:gd name="T64" fmla="*/ 58 w 645"/>
                <a:gd name="T65" fmla="*/ 475 h 556"/>
                <a:gd name="T66" fmla="*/ 64 w 645"/>
                <a:gd name="T67" fmla="*/ 467 h 556"/>
                <a:gd name="T68" fmla="*/ 69 w 645"/>
                <a:gd name="T69" fmla="*/ 426 h 556"/>
                <a:gd name="T70" fmla="*/ 3 w 645"/>
                <a:gd name="T71" fmla="*/ 293 h 556"/>
                <a:gd name="T72" fmla="*/ 13 w 645"/>
                <a:gd name="T73" fmla="*/ 259 h 556"/>
                <a:gd name="T74" fmla="*/ 33 w 645"/>
                <a:gd name="T75" fmla="*/ 261 h 556"/>
                <a:gd name="T76" fmla="*/ 43 w 645"/>
                <a:gd name="T77" fmla="*/ 289 h 556"/>
                <a:gd name="T78" fmla="*/ 88 w 645"/>
                <a:gd name="T79" fmla="*/ 289 h 556"/>
                <a:gd name="T80" fmla="*/ 109 w 645"/>
                <a:gd name="T81" fmla="*/ 287 h 556"/>
                <a:gd name="T82" fmla="*/ 139 w 645"/>
                <a:gd name="T83" fmla="*/ 270 h 556"/>
                <a:gd name="T84" fmla="*/ 139 w 645"/>
                <a:gd name="T85" fmla="*/ 112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45" h="556">
                  <a:moveTo>
                    <a:pt x="139" y="112"/>
                  </a:moveTo>
                  <a:lnTo>
                    <a:pt x="152" y="125"/>
                  </a:lnTo>
                  <a:lnTo>
                    <a:pt x="170" y="162"/>
                  </a:lnTo>
                  <a:lnTo>
                    <a:pt x="172" y="174"/>
                  </a:lnTo>
                  <a:lnTo>
                    <a:pt x="161" y="187"/>
                  </a:lnTo>
                  <a:lnTo>
                    <a:pt x="163" y="199"/>
                  </a:lnTo>
                  <a:lnTo>
                    <a:pt x="203" y="205"/>
                  </a:lnTo>
                  <a:lnTo>
                    <a:pt x="208" y="196"/>
                  </a:lnTo>
                  <a:lnTo>
                    <a:pt x="218" y="196"/>
                  </a:lnTo>
                  <a:lnTo>
                    <a:pt x="224" y="183"/>
                  </a:lnTo>
                  <a:lnTo>
                    <a:pt x="243" y="168"/>
                  </a:lnTo>
                  <a:lnTo>
                    <a:pt x="248" y="146"/>
                  </a:lnTo>
                  <a:lnTo>
                    <a:pt x="255" y="137"/>
                  </a:lnTo>
                  <a:lnTo>
                    <a:pt x="273" y="134"/>
                  </a:lnTo>
                  <a:lnTo>
                    <a:pt x="291" y="153"/>
                  </a:lnTo>
                  <a:lnTo>
                    <a:pt x="302" y="153"/>
                  </a:lnTo>
                  <a:lnTo>
                    <a:pt x="309" y="155"/>
                  </a:lnTo>
                  <a:lnTo>
                    <a:pt x="321" y="162"/>
                  </a:lnTo>
                  <a:lnTo>
                    <a:pt x="354" y="153"/>
                  </a:lnTo>
                  <a:lnTo>
                    <a:pt x="361" y="143"/>
                  </a:lnTo>
                  <a:lnTo>
                    <a:pt x="370" y="112"/>
                  </a:lnTo>
                  <a:lnTo>
                    <a:pt x="391" y="106"/>
                  </a:lnTo>
                  <a:lnTo>
                    <a:pt x="405" y="93"/>
                  </a:lnTo>
                  <a:lnTo>
                    <a:pt x="412" y="69"/>
                  </a:lnTo>
                  <a:lnTo>
                    <a:pt x="431" y="53"/>
                  </a:lnTo>
                  <a:lnTo>
                    <a:pt x="433" y="53"/>
                  </a:lnTo>
                  <a:lnTo>
                    <a:pt x="436" y="51"/>
                  </a:lnTo>
                  <a:lnTo>
                    <a:pt x="452" y="42"/>
                  </a:lnTo>
                  <a:lnTo>
                    <a:pt x="464" y="22"/>
                  </a:lnTo>
                  <a:lnTo>
                    <a:pt x="490" y="13"/>
                  </a:lnTo>
                  <a:lnTo>
                    <a:pt x="494" y="7"/>
                  </a:lnTo>
                  <a:lnTo>
                    <a:pt x="506" y="7"/>
                  </a:lnTo>
                  <a:lnTo>
                    <a:pt x="521" y="0"/>
                  </a:lnTo>
                  <a:lnTo>
                    <a:pt x="546" y="10"/>
                  </a:lnTo>
                  <a:lnTo>
                    <a:pt x="567" y="10"/>
                  </a:lnTo>
                  <a:lnTo>
                    <a:pt x="584" y="13"/>
                  </a:lnTo>
                  <a:lnTo>
                    <a:pt x="594" y="44"/>
                  </a:lnTo>
                  <a:lnTo>
                    <a:pt x="594" y="60"/>
                  </a:lnTo>
                  <a:lnTo>
                    <a:pt x="605" y="81"/>
                  </a:lnTo>
                  <a:lnTo>
                    <a:pt x="612" y="100"/>
                  </a:lnTo>
                  <a:lnTo>
                    <a:pt x="612" y="164"/>
                  </a:lnTo>
                  <a:lnTo>
                    <a:pt x="605" y="164"/>
                  </a:lnTo>
                  <a:lnTo>
                    <a:pt x="588" y="155"/>
                  </a:lnTo>
                  <a:lnTo>
                    <a:pt x="584" y="155"/>
                  </a:lnTo>
                  <a:lnTo>
                    <a:pt x="575" y="164"/>
                  </a:lnTo>
                  <a:lnTo>
                    <a:pt x="563" y="183"/>
                  </a:lnTo>
                  <a:lnTo>
                    <a:pt x="563" y="199"/>
                  </a:lnTo>
                  <a:lnTo>
                    <a:pt x="567" y="199"/>
                  </a:lnTo>
                  <a:lnTo>
                    <a:pt x="575" y="218"/>
                  </a:lnTo>
                  <a:lnTo>
                    <a:pt x="594" y="224"/>
                  </a:lnTo>
                  <a:lnTo>
                    <a:pt x="612" y="224"/>
                  </a:lnTo>
                  <a:lnTo>
                    <a:pt x="612" y="199"/>
                  </a:lnTo>
                  <a:lnTo>
                    <a:pt x="614" y="205"/>
                  </a:lnTo>
                  <a:lnTo>
                    <a:pt x="645" y="205"/>
                  </a:lnTo>
                  <a:lnTo>
                    <a:pt x="624" y="277"/>
                  </a:lnTo>
                  <a:lnTo>
                    <a:pt x="612" y="293"/>
                  </a:lnTo>
                  <a:lnTo>
                    <a:pt x="603" y="293"/>
                  </a:lnTo>
                  <a:lnTo>
                    <a:pt x="584" y="317"/>
                  </a:lnTo>
                  <a:lnTo>
                    <a:pt x="572" y="339"/>
                  </a:lnTo>
                  <a:lnTo>
                    <a:pt x="572" y="339"/>
                  </a:lnTo>
                  <a:lnTo>
                    <a:pt x="532" y="401"/>
                  </a:lnTo>
                  <a:lnTo>
                    <a:pt x="506" y="416"/>
                  </a:lnTo>
                  <a:lnTo>
                    <a:pt x="473" y="457"/>
                  </a:lnTo>
                  <a:lnTo>
                    <a:pt x="452" y="475"/>
                  </a:lnTo>
                  <a:lnTo>
                    <a:pt x="415" y="497"/>
                  </a:lnTo>
                  <a:lnTo>
                    <a:pt x="394" y="510"/>
                  </a:lnTo>
                  <a:lnTo>
                    <a:pt x="363" y="510"/>
                  </a:lnTo>
                  <a:lnTo>
                    <a:pt x="361" y="517"/>
                  </a:lnTo>
                  <a:lnTo>
                    <a:pt x="363" y="519"/>
                  </a:lnTo>
                  <a:lnTo>
                    <a:pt x="333" y="519"/>
                  </a:lnTo>
                  <a:lnTo>
                    <a:pt x="333" y="519"/>
                  </a:lnTo>
                  <a:lnTo>
                    <a:pt x="330" y="529"/>
                  </a:lnTo>
                  <a:lnTo>
                    <a:pt x="281" y="519"/>
                  </a:lnTo>
                  <a:lnTo>
                    <a:pt x="273" y="519"/>
                  </a:lnTo>
                  <a:lnTo>
                    <a:pt x="269" y="526"/>
                  </a:lnTo>
                  <a:lnTo>
                    <a:pt x="239" y="519"/>
                  </a:lnTo>
                  <a:lnTo>
                    <a:pt x="222" y="526"/>
                  </a:lnTo>
                  <a:lnTo>
                    <a:pt x="208" y="538"/>
                  </a:lnTo>
                  <a:lnTo>
                    <a:pt x="200" y="538"/>
                  </a:lnTo>
                  <a:lnTo>
                    <a:pt x="191" y="538"/>
                  </a:lnTo>
                  <a:lnTo>
                    <a:pt x="172" y="538"/>
                  </a:lnTo>
                  <a:lnTo>
                    <a:pt x="170" y="540"/>
                  </a:lnTo>
                  <a:lnTo>
                    <a:pt x="158" y="540"/>
                  </a:lnTo>
                  <a:lnTo>
                    <a:pt x="139" y="556"/>
                  </a:lnTo>
                  <a:lnTo>
                    <a:pt x="128" y="556"/>
                  </a:lnTo>
                  <a:lnTo>
                    <a:pt x="112" y="547"/>
                  </a:lnTo>
                  <a:lnTo>
                    <a:pt x="112" y="540"/>
                  </a:lnTo>
                  <a:lnTo>
                    <a:pt x="109" y="538"/>
                  </a:lnTo>
                  <a:lnTo>
                    <a:pt x="91" y="538"/>
                  </a:lnTo>
                  <a:lnTo>
                    <a:pt x="91" y="529"/>
                  </a:lnTo>
                  <a:lnTo>
                    <a:pt x="91" y="526"/>
                  </a:lnTo>
                  <a:lnTo>
                    <a:pt x="79" y="526"/>
                  </a:lnTo>
                  <a:lnTo>
                    <a:pt x="79" y="538"/>
                  </a:lnTo>
                  <a:lnTo>
                    <a:pt x="72" y="535"/>
                  </a:lnTo>
                  <a:lnTo>
                    <a:pt x="69" y="519"/>
                  </a:lnTo>
                  <a:lnTo>
                    <a:pt x="79" y="517"/>
                  </a:lnTo>
                  <a:lnTo>
                    <a:pt x="79" y="506"/>
                  </a:lnTo>
                  <a:lnTo>
                    <a:pt x="60" y="475"/>
                  </a:lnTo>
                  <a:lnTo>
                    <a:pt x="58" y="475"/>
                  </a:lnTo>
                  <a:lnTo>
                    <a:pt x="51" y="467"/>
                  </a:lnTo>
                  <a:lnTo>
                    <a:pt x="60" y="464"/>
                  </a:lnTo>
                  <a:lnTo>
                    <a:pt x="64" y="467"/>
                  </a:lnTo>
                  <a:lnTo>
                    <a:pt x="69" y="457"/>
                  </a:lnTo>
                  <a:lnTo>
                    <a:pt x="72" y="445"/>
                  </a:lnTo>
                  <a:lnTo>
                    <a:pt x="69" y="426"/>
                  </a:lnTo>
                  <a:lnTo>
                    <a:pt x="30" y="354"/>
                  </a:lnTo>
                  <a:lnTo>
                    <a:pt x="13" y="302"/>
                  </a:lnTo>
                  <a:lnTo>
                    <a:pt x="3" y="293"/>
                  </a:lnTo>
                  <a:lnTo>
                    <a:pt x="0" y="280"/>
                  </a:lnTo>
                  <a:lnTo>
                    <a:pt x="8" y="277"/>
                  </a:lnTo>
                  <a:lnTo>
                    <a:pt x="13" y="259"/>
                  </a:lnTo>
                  <a:lnTo>
                    <a:pt x="22" y="255"/>
                  </a:lnTo>
                  <a:lnTo>
                    <a:pt x="30" y="261"/>
                  </a:lnTo>
                  <a:lnTo>
                    <a:pt x="33" y="261"/>
                  </a:lnTo>
                  <a:lnTo>
                    <a:pt x="33" y="287"/>
                  </a:lnTo>
                  <a:lnTo>
                    <a:pt x="43" y="287"/>
                  </a:lnTo>
                  <a:lnTo>
                    <a:pt x="43" y="289"/>
                  </a:lnTo>
                  <a:lnTo>
                    <a:pt x="58" y="289"/>
                  </a:lnTo>
                  <a:lnTo>
                    <a:pt x="64" y="293"/>
                  </a:lnTo>
                  <a:lnTo>
                    <a:pt x="88" y="289"/>
                  </a:lnTo>
                  <a:lnTo>
                    <a:pt x="102" y="293"/>
                  </a:lnTo>
                  <a:lnTo>
                    <a:pt x="109" y="293"/>
                  </a:lnTo>
                  <a:lnTo>
                    <a:pt x="109" y="287"/>
                  </a:lnTo>
                  <a:lnTo>
                    <a:pt x="119" y="287"/>
                  </a:lnTo>
                  <a:lnTo>
                    <a:pt x="121" y="277"/>
                  </a:lnTo>
                  <a:lnTo>
                    <a:pt x="139" y="270"/>
                  </a:lnTo>
                  <a:lnTo>
                    <a:pt x="139" y="112"/>
                  </a:lnTo>
                  <a:lnTo>
                    <a:pt x="139" y="112"/>
                  </a:lnTo>
                  <a:lnTo>
                    <a:pt x="139" y="112"/>
                  </a:lnTo>
                  <a:lnTo>
                    <a:pt x="139" y="112"/>
                  </a:lnTo>
                  <a:lnTo>
                    <a:pt x="139" y="112"/>
                  </a:lnTo>
                  <a:close/>
                </a:path>
              </a:pathLst>
            </a:custGeom>
            <a:solidFill>
              <a:schemeClr val="accent2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57" name="Freeform 43">
              <a:extLst>
                <a:ext uri="{FF2B5EF4-FFF2-40B4-BE49-F238E27FC236}">
                  <a16:creationId xmlns:a16="http://schemas.microsoft.com/office/drawing/2014/main" id="{4C84FD25-94D7-4DCA-B813-6CA972256EE5}"/>
                </a:ext>
              </a:extLst>
            </p:cNvPr>
            <p:cNvSpPr>
              <a:spLocks/>
            </p:cNvSpPr>
            <p:nvPr/>
          </p:nvSpPr>
          <p:spPr bwMode="gray">
            <a:xfrm>
              <a:off x="7187434" y="6342015"/>
              <a:ext cx="89149" cy="83577"/>
            </a:xfrm>
            <a:custGeom>
              <a:avLst/>
              <a:gdLst>
                <a:gd name="T0" fmla="*/ 70 w 96"/>
                <a:gd name="T1" fmla="*/ 7 h 90"/>
                <a:gd name="T2" fmla="*/ 60 w 96"/>
                <a:gd name="T3" fmla="*/ 0 h 90"/>
                <a:gd name="T4" fmla="*/ 45 w 96"/>
                <a:gd name="T5" fmla="*/ 7 h 90"/>
                <a:gd name="T6" fmla="*/ 21 w 96"/>
                <a:gd name="T7" fmla="*/ 18 h 90"/>
                <a:gd name="T8" fmla="*/ 9 w 96"/>
                <a:gd name="T9" fmla="*/ 41 h 90"/>
                <a:gd name="T10" fmla="*/ 0 w 96"/>
                <a:gd name="T11" fmla="*/ 44 h 90"/>
                <a:gd name="T12" fmla="*/ 9 w 96"/>
                <a:gd name="T13" fmla="*/ 62 h 90"/>
                <a:gd name="T14" fmla="*/ 16 w 96"/>
                <a:gd name="T15" fmla="*/ 74 h 90"/>
                <a:gd name="T16" fmla="*/ 27 w 96"/>
                <a:gd name="T17" fmla="*/ 90 h 90"/>
                <a:gd name="T18" fmla="*/ 40 w 96"/>
                <a:gd name="T19" fmla="*/ 90 h 90"/>
                <a:gd name="T20" fmla="*/ 51 w 96"/>
                <a:gd name="T21" fmla="*/ 69 h 90"/>
                <a:gd name="T22" fmla="*/ 70 w 96"/>
                <a:gd name="T23" fmla="*/ 69 h 90"/>
                <a:gd name="T24" fmla="*/ 82 w 96"/>
                <a:gd name="T25" fmla="*/ 59 h 90"/>
                <a:gd name="T26" fmla="*/ 82 w 96"/>
                <a:gd name="T27" fmla="*/ 44 h 90"/>
                <a:gd name="T28" fmla="*/ 87 w 96"/>
                <a:gd name="T29" fmla="*/ 44 h 90"/>
                <a:gd name="T30" fmla="*/ 87 w 96"/>
                <a:gd name="T31" fmla="*/ 41 h 90"/>
                <a:gd name="T32" fmla="*/ 96 w 96"/>
                <a:gd name="T33" fmla="*/ 31 h 90"/>
                <a:gd name="T34" fmla="*/ 91 w 96"/>
                <a:gd name="T35" fmla="*/ 22 h 90"/>
                <a:gd name="T36" fmla="*/ 70 w 96"/>
                <a:gd name="T37" fmla="*/ 7 h 90"/>
                <a:gd name="T38" fmla="*/ 70 w 96"/>
                <a:gd name="T39" fmla="*/ 7 h 90"/>
                <a:gd name="T40" fmla="*/ 70 w 96"/>
                <a:gd name="T41" fmla="*/ 7 h 90"/>
                <a:gd name="T42" fmla="*/ 70 w 96"/>
                <a:gd name="T43" fmla="*/ 7 h 90"/>
                <a:gd name="T44" fmla="*/ 70 w 96"/>
                <a:gd name="T45" fmla="*/ 7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6" h="90">
                  <a:moveTo>
                    <a:pt x="70" y="7"/>
                  </a:moveTo>
                  <a:lnTo>
                    <a:pt x="60" y="0"/>
                  </a:lnTo>
                  <a:lnTo>
                    <a:pt x="45" y="7"/>
                  </a:lnTo>
                  <a:lnTo>
                    <a:pt x="21" y="18"/>
                  </a:lnTo>
                  <a:lnTo>
                    <a:pt x="9" y="41"/>
                  </a:lnTo>
                  <a:lnTo>
                    <a:pt x="0" y="44"/>
                  </a:lnTo>
                  <a:lnTo>
                    <a:pt x="9" y="62"/>
                  </a:lnTo>
                  <a:lnTo>
                    <a:pt x="16" y="74"/>
                  </a:lnTo>
                  <a:lnTo>
                    <a:pt x="27" y="90"/>
                  </a:lnTo>
                  <a:lnTo>
                    <a:pt x="40" y="90"/>
                  </a:lnTo>
                  <a:lnTo>
                    <a:pt x="51" y="69"/>
                  </a:lnTo>
                  <a:lnTo>
                    <a:pt x="70" y="69"/>
                  </a:lnTo>
                  <a:lnTo>
                    <a:pt x="82" y="59"/>
                  </a:lnTo>
                  <a:lnTo>
                    <a:pt x="82" y="44"/>
                  </a:lnTo>
                  <a:lnTo>
                    <a:pt x="87" y="44"/>
                  </a:lnTo>
                  <a:lnTo>
                    <a:pt x="87" y="41"/>
                  </a:lnTo>
                  <a:lnTo>
                    <a:pt x="96" y="31"/>
                  </a:lnTo>
                  <a:lnTo>
                    <a:pt x="91" y="22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7"/>
                  </a:lnTo>
                  <a:lnTo>
                    <a:pt x="70" y="7"/>
                  </a:lnTo>
                  <a:close/>
                </a:path>
              </a:pathLst>
            </a:custGeom>
            <a:solidFill>
              <a:srgbClr val="FEC057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58" name="Freeform 44">
              <a:extLst>
                <a:ext uri="{FF2B5EF4-FFF2-40B4-BE49-F238E27FC236}">
                  <a16:creationId xmlns:a16="http://schemas.microsoft.com/office/drawing/2014/main" id="{9E5164EE-0EA8-4625-9FEE-DCFC15D75E36}"/>
                </a:ext>
              </a:extLst>
            </p:cNvPr>
            <p:cNvSpPr>
              <a:spLocks/>
            </p:cNvSpPr>
            <p:nvPr/>
          </p:nvSpPr>
          <p:spPr bwMode="gray">
            <a:xfrm>
              <a:off x="6726831" y="6102427"/>
              <a:ext cx="10215" cy="20430"/>
            </a:xfrm>
            <a:custGeom>
              <a:avLst/>
              <a:gdLst>
                <a:gd name="T0" fmla="*/ 2 w 11"/>
                <a:gd name="T1" fmla="*/ 0 h 22"/>
                <a:gd name="T2" fmla="*/ 9 w 11"/>
                <a:gd name="T3" fmla="*/ 0 h 22"/>
                <a:gd name="T4" fmla="*/ 11 w 11"/>
                <a:gd name="T5" fmla="*/ 22 h 22"/>
                <a:gd name="T6" fmla="*/ 0 w 11"/>
                <a:gd name="T7" fmla="*/ 22 h 22"/>
                <a:gd name="T8" fmla="*/ 0 w 11"/>
                <a:gd name="T9" fmla="*/ 15 h 22"/>
                <a:gd name="T10" fmla="*/ 0 w 11"/>
                <a:gd name="T11" fmla="*/ 9 h 22"/>
                <a:gd name="T12" fmla="*/ 0 w 11"/>
                <a:gd name="T13" fmla="*/ 15 h 22"/>
                <a:gd name="T14" fmla="*/ 2 w 11"/>
                <a:gd name="T15" fmla="*/ 15 h 22"/>
                <a:gd name="T16" fmla="*/ 2 w 11"/>
                <a:gd name="T17" fmla="*/ 0 h 22"/>
                <a:gd name="T18" fmla="*/ 2 w 11"/>
                <a:gd name="T19" fmla="*/ 0 h 22"/>
                <a:gd name="T20" fmla="*/ 2 w 11"/>
                <a:gd name="T21" fmla="*/ 0 h 22"/>
                <a:gd name="T22" fmla="*/ 2 w 11"/>
                <a:gd name="T23" fmla="*/ 0 h 22"/>
                <a:gd name="T24" fmla="*/ 2 w 11"/>
                <a:gd name="T2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" h="22">
                  <a:moveTo>
                    <a:pt x="2" y="0"/>
                  </a:moveTo>
                  <a:lnTo>
                    <a:pt x="9" y="0"/>
                  </a:lnTo>
                  <a:lnTo>
                    <a:pt x="11" y="22"/>
                  </a:lnTo>
                  <a:lnTo>
                    <a:pt x="0" y="22"/>
                  </a:lnTo>
                  <a:lnTo>
                    <a:pt x="0" y="15"/>
                  </a:lnTo>
                  <a:lnTo>
                    <a:pt x="0" y="9"/>
                  </a:lnTo>
                  <a:lnTo>
                    <a:pt x="0" y="15"/>
                  </a:lnTo>
                  <a:lnTo>
                    <a:pt x="2" y="15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59" name="Freeform 45">
              <a:extLst>
                <a:ext uri="{FF2B5EF4-FFF2-40B4-BE49-F238E27FC236}">
                  <a16:creationId xmlns:a16="http://schemas.microsoft.com/office/drawing/2014/main" id="{A48A8D63-ABF0-41E2-9F4A-FF33D00BC8D6}"/>
                </a:ext>
              </a:extLst>
            </p:cNvPr>
            <p:cNvSpPr>
              <a:spLocks/>
            </p:cNvSpPr>
            <p:nvPr/>
          </p:nvSpPr>
          <p:spPr bwMode="gray">
            <a:xfrm>
              <a:off x="5561395" y="4607326"/>
              <a:ext cx="227515" cy="169011"/>
            </a:xfrm>
            <a:custGeom>
              <a:avLst/>
              <a:gdLst>
                <a:gd name="T0" fmla="*/ 92 w 245"/>
                <a:gd name="T1" fmla="*/ 171 h 182"/>
                <a:gd name="T2" fmla="*/ 52 w 245"/>
                <a:gd name="T3" fmla="*/ 180 h 182"/>
                <a:gd name="T4" fmla="*/ 25 w 245"/>
                <a:gd name="T5" fmla="*/ 180 h 182"/>
                <a:gd name="T6" fmla="*/ 42 w 245"/>
                <a:gd name="T7" fmla="*/ 173 h 182"/>
                <a:gd name="T8" fmla="*/ 73 w 245"/>
                <a:gd name="T9" fmla="*/ 173 h 182"/>
                <a:gd name="T10" fmla="*/ 77 w 245"/>
                <a:gd name="T11" fmla="*/ 164 h 182"/>
                <a:gd name="T12" fmla="*/ 77 w 245"/>
                <a:gd name="T13" fmla="*/ 164 h 182"/>
                <a:gd name="T14" fmla="*/ 73 w 245"/>
                <a:gd name="T15" fmla="*/ 173 h 182"/>
                <a:gd name="T16" fmla="*/ 56 w 245"/>
                <a:gd name="T17" fmla="*/ 164 h 182"/>
                <a:gd name="T18" fmla="*/ 42 w 245"/>
                <a:gd name="T19" fmla="*/ 173 h 182"/>
                <a:gd name="T20" fmla="*/ 33 w 245"/>
                <a:gd name="T21" fmla="*/ 164 h 182"/>
                <a:gd name="T22" fmla="*/ 30 w 245"/>
                <a:gd name="T23" fmla="*/ 152 h 182"/>
                <a:gd name="T24" fmla="*/ 64 w 245"/>
                <a:gd name="T25" fmla="*/ 149 h 182"/>
                <a:gd name="T26" fmla="*/ 85 w 245"/>
                <a:gd name="T27" fmla="*/ 140 h 182"/>
                <a:gd name="T28" fmla="*/ 125 w 245"/>
                <a:gd name="T29" fmla="*/ 149 h 182"/>
                <a:gd name="T30" fmla="*/ 146 w 245"/>
                <a:gd name="T31" fmla="*/ 140 h 182"/>
                <a:gd name="T32" fmla="*/ 125 w 245"/>
                <a:gd name="T33" fmla="*/ 140 h 182"/>
                <a:gd name="T34" fmla="*/ 108 w 245"/>
                <a:gd name="T35" fmla="*/ 130 h 182"/>
                <a:gd name="T36" fmla="*/ 95 w 245"/>
                <a:gd name="T37" fmla="*/ 120 h 182"/>
                <a:gd name="T38" fmla="*/ 77 w 245"/>
                <a:gd name="T39" fmla="*/ 130 h 182"/>
                <a:gd name="T40" fmla="*/ 33 w 245"/>
                <a:gd name="T41" fmla="*/ 124 h 182"/>
                <a:gd name="T42" fmla="*/ 30 w 245"/>
                <a:gd name="T43" fmla="*/ 124 h 182"/>
                <a:gd name="T44" fmla="*/ 42 w 245"/>
                <a:gd name="T45" fmla="*/ 108 h 182"/>
                <a:gd name="T46" fmla="*/ 33 w 245"/>
                <a:gd name="T47" fmla="*/ 111 h 182"/>
                <a:gd name="T48" fmla="*/ 12 w 245"/>
                <a:gd name="T49" fmla="*/ 87 h 182"/>
                <a:gd name="T50" fmla="*/ 0 w 245"/>
                <a:gd name="T51" fmla="*/ 87 h 182"/>
                <a:gd name="T52" fmla="*/ 12 w 245"/>
                <a:gd name="T53" fmla="*/ 78 h 182"/>
                <a:gd name="T54" fmla="*/ 37 w 245"/>
                <a:gd name="T55" fmla="*/ 41 h 182"/>
                <a:gd name="T56" fmla="*/ 47 w 245"/>
                <a:gd name="T57" fmla="*/ 9 h 182"/>
                <a:gd name="T58" fmla="*/ 99 w 245"/>
                <a:gd name="T59" fmla="*/ 0 h 182"/>
                <a:gd name="T60" fmla="*/ 144 w 245"/>
                <a:gd name="T61" fmla="*/ 28 h 182"/>
                <a:gd name="T62" fmla="*/ 153 w 245"/>
                <a:gd name="T63" fmla="*/ 28 h 182"/>
                <a:gd name="T64" fmla="*/ 159 w 245"/>
                <a:gd name="T65" fmla="*/ 28 h 182"/>
                <a:gd name="T66" fmla="*/ 174 w 245"/>
                <a:gd name="T67" fmla="*/ 56 h 182"/>
                <a:gd name="T68" fmla="*/ 184 w 245"/>
                <a:gd name="T69" fmla="*/ 60 h 182"/>
                <a:gd name="T70" fmla="*/ 196 w 245"/>
                <a:gd name="T71" fmla="*/ 71 h 182"/>
                <a:gd name="T72" fmla="*/ 207 w 245"/>
                <a:gd name="T73" fmla="*/ 100 h 182"/>
                <a:gd name="T74" fmla="*/ 217 w 245"/>
                <a:gd name="T75" fmla="*/ 120 h 182"/>
                <a:gd name="T76" fmla="*/ 226 w 245"/>
                <a:gd name="T77" fmla="*/ 143 h 182"/>
                <a:gd name="T78" fmla="*/ 229 w 245"/>
                <a:gd name="T79" fmla="*/ 140 h 182"/>
                <a:gd name="T80" fmla="*/ 245 w 245"/>
                <a:gd name="T81" fmla="*/ 180 h 182"/>
                <a:gd name="T82" fmla="*/ 205 w 245"/>
                <a:gd name="T83" fmla="*/ 182 h 182"/>
                <a:gd name="T84" fmla="*/ 174 w 245"/>
                <a:gd name="T85" fmla="*/ 180 h 182"/>
                <a:gd name="T86" fmla="*/ 146 w 245"/>
                <a:gd name="T87" fmla="*/ 171 h 182"/>
                <a:gd name="T88" fmla="*/ 125 w 245"/>
                <a:gd name="T89" fmla="*/ 171 h 182"/>
                <a:gd name="T90" fmla="*/ 125 w 245"/>
                <a:gd name="T91" fmla="*/ 17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45" h="182">
                  <a:moveTo>
                    <a:pt x="125" y="171"/>
                  </a:moveTo>
                  <a:lnTo>
                    <a:pt x="92" y="171"/>
                  </a:lnTo>
                  <a:lnTo>
                    <a:pt x="68" y="180"/>
                  </a:lnTo>
                  <a:lnTo>
                    <a:pt x="52" y="180"/>
                  </a:lnTo>
                  <a:lnTo>
                    <a:pt x="30" y="182"/>
                  </a:lnTo>
                  <a:lnTo>
                    <a:pt x="25" y="180"/>
                  </a:lnTo>
                  <a:lnTo>
                    <a:pt x="33" y="171"/>
                  </a:lnTo>
                  <a:lnTo>
                    <a:pt x="42" y="173"/>
                  </a:lnTo>
                  <a:lnTo>
                    <a:pt x="56" y="171"/>
                  </a:lnTo>
                  <a:lnTo>
                    <a:pt x="73" y="173"/>
                  </a:lnTo>
                  <a:lnTo>
                    <a:pt x="77" y="171"/>
                  </a:lnTo>
                  <a:lnTo>
                    <a:pt x="77" y="164"/>
                  </a:lnTo>
                  <a:lnTo>
                    <a:pt x="82" y="162"/>
                  </a:lnTo>
                  <a:lnTo>
                    <a:pt x="77" y="164"/>
                  </a:lnTo>
                  <a:lnTo>
                    <a:pt x="77" y="171"/>
                  </a:lnTo>
                  <a:lnTo>
                    <a:pt x="73" y="173"/>
                  </a:lnTo>
                  <a:lnTo>
                    <a:pt x="61" y="173"/>
                  </a:lnTo>
                  <a:lnTo>
                    <a:pt x="56" y="164"/>
                  </a:lnTo>
                  <a:lnTo>
                    <a:pt x="56" y="171"/>
                  </a:lnTo>
                  <a:lnTo>
                    <a:pt x="42" y="173"/>
                  </a:lnTo>
                  <a:lnTo>
                    <a:pt x="33" y="171"/>
                  </a:lnTo>
                  <a:lnTo>
                    <a:pt x="33" y="164"/>
                  </a:lnTo>
                  <a:lnTo>
                    <a:pt x="30" y="173"/>
                  </a:lnTo>
                  <a:lnTo>
                    <a:pt x="30" y="152"/>
                  </a:lnTo>
                  <a:lnTo>
                    <a:pt x="30" y="149"/>
                  </a:lnTo>
                  <a:lnTo>
                    <a:pt x="64" y="149"/>
                  </a:lnTo>
                  <a:lnTo>
                    <a:pt x="64" y="143"/>
                  </a:lnTo>
                  <a:lnTo>
                    <a:pt x="85" y="140"/>
                  </a:lnTo>
                  <a:lnTo>
                    <a:pt x="95" y="130"/>
                  </a:lnTo>
                  <a:lnTo>
                    <a:pt x="125" y="149"/>
                  </a:lnTo>
                  <a:lnTo>
                    <a:pt x="144" y="143"/>
                  </a:lnTo>
                  <a:lnTo>
                    <a:pt x="146" y="140"/>
                  </a:lnTo>
                  <a:lnTo>
                    <a:pt x="137" y="130"/>
                  </a:lnTo>
                  <a:lnTo>
                    <a:pt x="125" y="140"/>
                  </a:lnTo>
                  <a:lnTo>
                    <a:pt x="116" y="130"/>
                  </a:lnTo>
                  <a:lnTo>
                    <a:pt x="108" y="130"/>
                  </a:lnTo>
                  <a:lnTo>
                    <a:pt x="104" y="124"/>
                  </a:lnTo>
                  <a:lnTo>
                    <a:pt x="95" y="120"/>
                  </a:lnTo>
                  <a:lnTo>
                    <a:pt x="82" y="124"/>
                  </a:lnTo>
                  <a:lnTo>
                    <a:pt x="77" y="130"/>
                  </a:lnTo>
                  <a:lnTo>
                    <a:pt x="33" y="130"/>
                  </a:lnTo>
                  <a:lnTo>
                    <a:pt x="33" y="124"/>
                  </a:lnTo>
                  <a:lnTo>
                    <a:pt x="37" y="118"/>
                  </a:lnTo>
                  <a:lnTo>
                    <a:pt x="30" y="124"/>
                  </a:lnTo>
                  <a:lnTo>
                    <a:pt x="30" y="118"/>
                  </a:lnTo>
                  <a:lnTo>
                    <a:pt x="42" y="108"/>
                  </a:lnTo>
                  <a:lnTo>
                    <a:pt x="37" y="108"/>
                  </a:lnTo>
                  <a:lnTo>
                    <a:pt x="33" y="111"/>
                  </a:lnTo>
                  <a:lnTo>
                    <a:pt x="25" y="111"/>
                  </a:lnTo>
                  <a:lnTo>
                    <a:pt x="12" y="87"/>
                  </a:lnTo>
                  <a:lnTo>
                    <a:pt x="4" y="87"/>
                  </a:lnTo>
                  <a:lnTo>
                    <a:pt x="0" y="87"/>
                  </a:lnTo>
                  <a:lnTo>
                    <a:pt x="0" y="87"/>
                  </a:lnTo>
                  <a:lnTo>
                    <a:pt x="12" y="78"/>
                  </a:lnTo>
                  <a:lnTo>
                    <a:pt x="25" y="62"/>
                  </a:lnTo>
                  <a:lnTo>
                    <a:pt x="37" y="41"/>
                  </a:lnTo>
                  <a:lnTo>
                    <a:pt x="37" y="28"/>
                  </a:lnTo>
                  <a:lnTo>
                    <a:pt x="47" y="9"/>
                  </a:lnTo>
                  <a:lnTo>
                    <a:pt x="73" y="9"/>
                  </a:lnTo>
                  <a:lnTo>
                    <a:pt x="99" y="0"/>
                  </a:lnTo>
                  <a:lnTo>
                    <a:pt x="125" y="7"/>
                  </a:lnTo>
                  <a:lnTo>
                    <a:pt x="144" y="28"/>
                  </a:lnTo>
                  <a:lnTo>
                    <a:pt x="146" y="25"/>
                  </a:lnTo>
                  <a:lnTo>
                    <a:pt x="153" y="28"/>
                  </a:lnTo>
                  <a:lnTo>
                    <a:pt x="156" y="28"/>
                  </a:lnTo>
                  <a:lnTo>
                    <a:pt x="159" y="28"/>
                  </a:lnTo>
                  <a:lnTo>
                    <a:pt x="168" y="46"/>
                  </a:lnTo>
                  <a:lnTo>
                    <a:pt x="174" y="56"/>
                  </a:lnTo>
                  <a:lnTo>
                    <a:pt x="177" y="56"/>
                  </a:lnTo>
                  <a:lnTo>
                    <a:pt x="184" y="60"/>
                  </a:lnTo>
                  <a:lnTo>
                    <a:pt x="184" y="62"/>
                  </a:lnTo>
                  <a:lnTo>
                    <a:pt x="196" y="71"/>
                  </a:lnTo>
                  <a:lnTo>
                    <a:pt x="207" y="80"/>
                  </a:lnTo>
                  <a:lnTo>
                    <a:pt x="207" y="100"/>
                  </a:lnTo>
                  <a:lnTo>
                    <a:pt x="217" y="108"/>
                  </a:lnTo>
                  <a:lnTo>
                    <a:pt x="217" y="120"/>
                  </a:lnTo>
                  <a:lnTo>
                    <a:pt x="214" y="130"/>
                  </a:lnTo>
                  <a:lnTo>
                    <a:pt x="226" y="143"/>
                  </a:lnTo>
                  <a:lnTo>
                    <a:pt x="226" y="140"/>
                  </a:lnTo>
                  <a:lnTo>
                    <a:pt x="229" y="140"/>
                  </a:lnTo>
                  <a:lnTo>
                    <a:pt x="245" y="155"/>
                  </a:lnTo>
                  <a:lnTo>
                    <a:pt x="245" y="180"/>
                  </a:lnTo>
                  <a:lnTo>
                    <a:pt x="217" y="180"/>
                  </a:lnTo>
                  <a:lnTo>
                    <a:pt x="205" y="182"/>
                  </a:lnTo>
                  <a:lnTo>
                    <a:pt x="184" y="173"/>
                  </a:lnTo>
                  <a:lnTo>
                    <a:pt x="174" y="180"/>
                  </a:lnTo>
                  <a:lnTo>
                    <a:pt x="174" y="171"/>
                  </a:lnTo>
                  <a:lnTo>
                    <a:pt x="146" y="171"/>
                  </a:lnTo>
                  <a:lnTo>
                    <a:pt x="125" y="171"/>
                  </a:lnTo>
                  <a:lnTo>
                    <a:pt x="125" y="171"/>
                  </a:lnTo>
                  <a:lnTo>
                    <a:pt x="125" y="171"/>
                  </a:lnTo>
                  <a:lnTo>
                    <a:pt x="125" y="171"/>
                  </a:lnTo>
                  <a:lnTo>
                    <a:pt x="125" y="17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60" name="Freeform 46">
              <a:extLst>
                <a:ext uri="{FF2B5EF4-FFF2-40B4-BE49-F238E27FC236}">
                  <a16:creationId xmlns:a16="http://schemas.microsoft.com/office/drawing/2014/main" id="{234E9310-28B2-4BDF-B740-7129C770696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13691" y="4863629"/>
              <a:ext cx="111436" cy="118865"/>
            </a:xfrm>
            <a:custGeom>
              <a:avLst/>
              <a:gdLst>
                <a:gd name="T0" fmla="*/ 92 w 120"/>
                <a:gd name="T1" fmla="*/ 104 h 128"/>
                <a:gd name="T2" fmla="*/ 78 w 120"/>
                <a:gd name="T3" fmla="*/ 116 h 128"/>
                <a:gd name="T4" fmla="*/ 71 w 120"/>
                <a:gd name="T5" fmla="*/ 128 h 128"/>
                <a:gd name="T6" fmla="*/ 54 w 120"/>
                <a:gd name="T7" fmla="*/ 122 h 128"/>
                <a:gd name="T8" fmla="*/ 29 w 120"/>
                <a:gd name="T9" fmla="*/ 107 h 128"/>
                <a:gd name="T10" fmla="*/ 33 w 120"/>
                <a:gd name="T11" fmla="*/ 104 h 128"/>
                <a:gd name="T12" fmla="*/ 42 w 120"/>
                <a:gd name="T13" fmla="*/ 98 h 128"/>
                <a:gd name="T14" fmla="*/ 33 w 120"/>
                <a:gd name="T15" fmla="*/ 104 h 128"/>
                <a:gd name="T16" fmla="*/ 12 w 120"/>
                <a:gd name="T17" fmla="*/ 91 h 128"/>
                <a:gd name="T18" fmla="*/ 17 w 120"/>
                <a:gd name="T19" fmla="*/ 85 h 128"/>
                <a:gd name="T20" fmla="*/ 12 w 120"/>
                <a:gd name="T21" fmla="*/ 72 h 128"/>
                <a:gd name="T22" fmla="*/ 9 w 120"/>
                <a:gd name="T23" fmla="*/ 75 h 128"/>
                <a:gd name="T24" fmla="*/ 0 w 120"/>
                <a:gd name="T25" fmla="*/ 63 h 128"/>
                <a:gd name="T26" fmla="*/ 9 w 120"/>
                <a:gd name="T27" fmla="*/ 66 h 128"/>
                <a:gd name="T28" fmla="*/ 9 w 120"/>
                <a:gd name="T29" fmla="*/ 66 h 128"/>
                <a:gd name="T30" fmla="*/ 17 w 120"/>
                <a:gd name="T31" fmla="*/ 63 h 128"/>
                <a:gd name="T32" fmla="*/ 3 w 120"/>
                <a:gd name="T33" fmla="*/ 63 h 128"/>
                <a:gd name="T34" fmla="*/ 3 w 120"/>
                <a:gd name="T35" fmla="*/ 51 h 128"/>
                <a:gd name="T36" fmla="*/ 9 w 120"/>
                <a:gd name="T37" fmla="*/ 51 h 128"/>
                <a:gd name="T38" fmla="*/ 0 w 120"/>
                <a:gd name="T39" fmla="*/ 41 h 128"/>
                <a:gd name="T40" fmla="*/ 9 w 120"/>
                <a:gd name="T41" fmla="*/ 41 h 128"/>
                <a:gd name="T42" fmla="*/ 12 w 120"/>
                <a:gd name="T43" fmla="*/ 32 h 128"/>
                <a:gd name="T44" fmla="*/ 24 w 120"/>
                <a:gd name="T45" fmla="*/ 28 h 128"/>
                <a:gd name="T46" fmla="*/ 33 w 120"/>
                <a:gd name="T47" fmla="*/ 3 h 128"/>
                <a:gd name="T48" fmla="*/ 42 w 120"/>
                <a:gd name="T49" fmla="*/ 3 h 128"/>
                <a:gd name="T50" fmla="*/ 48 w 120"/>
                <a:gd name="T51" fmla="*/ 10 h 128"/>
                <a:gd name="T52" fmla="*/ 54 w 120"/>
                <a:gd name="T53" fmla="*/ 3 h 128"/>
                <a:gd name="T54" fmla="*/ 54 w 120"/>
                <a:gd name="T55" fmla="*/ 0 h 128"/>
                <a:gd name="T56" fmla="*/ 81 w 120"/>
                <a:gd name="T57" fmla="*/ 0 h 128"/>
                <a:gd name="T58" fmla="*/ 102 w 120"/>
                <a:gd name="T59" fmla="*/ 32 h 128"/>
                <a:gd name="T60" fmla="*/ 99 w 120"/>
                <a:gd name="T61" fmla="*/ 41 h 128"/>
                <a:gd name="T62" fmla="*/ 108 w 120"/>
                <a:gd name="T63" fmla="*/ 41 h 128"/>
                <a:gd name="T64" fmla="*/ 108 w 120"/>
                <a:gd name="T65" fmla="*/ 51 h 128"/>
                <a:gd name="T66" fmla="*/ 111 w 120"/>
                <a:gd name="T67" fmla="*/ 54 h 128"/>
                <a:gd name="T68" fmla="*/ 102 w 120"/>
                <a:gd name="T69" fmla="*/ 72 h 128"/>
                <a:gd name="T70" fmla="*/ 120 w 120"/>
                <a:gd name="T71" fmla="*/ 63 h 128"/>
                <a:gd name="T72" fmla="*/ 114 w 120"/>
                <a:gd name="T73" fmla="*/ 75 h 128"/>
                <a:gd name="T74" fmla="*/ 108 w 120"/>
                <a:gd name="T75" fmla="*/ 81 h 128"/>
                <a:gd name="T76" fmla="*/ 108 w 120"/>
                <a:gd name="T77" fmla="*/ 95 h 128"/>
                <a:gd name="T78" fmla="*/ 92 w 120"/>
                <a:gd name="T79" fmla="*/ 104 h 128"/>
                <a:gd name="T80" fmla="*/ 92 w 120"/>
                <a:gd name="T81" fmla="*/ 104 h 128"/>
                <a:gd name="T82" fmla="*/ 92 w 120"/>
                <a:gd name="T83" fmla="*/ 104 h 128"/>
                <a:gd name="T84" fmla="*/ 92 w 120"/>
                <a:gd name="T85" fmla="*/ 104 h 128"/>
                <a:gd name="T86" fmla="*/ 92 w 120"/>
                <a:gd name="T87" fmla="*/ 104 h 128"/>
                <a:gd name="T88" fmla="*/ 17 w 120"/>
                <a:gd name="T89" fmla="*/ 98 h 128"/>
                <a:gd name="T90" fmla="*/ 29 w 120"/>
                <a:gd name="T91" fmla="*/ 98 h 128"/>
                <a:gd name="T92" fmla="*/ 29 w 120"/>
                <a:gd name="T93" fmla="*/ 104 h 128"/>
                <a:gd name="T94" fmla="*/ 29 w 120"/>
                <a:gd name="T95" fmla="*/ 107 h 128"/>
                <a:gd name="T96" fmla="*/ 12 w 120"/>
                <a:gd name="T97" fmla="*/ 104 h 128"/>
                <a:gd name="T98" fmla="*/ 17 w 120"/>
                <a:gd name="T99" fmla="*/ 98 h 128"/>
                <a:gd name="T100" fmla="*/ 17 w 120"/>
                <a:gd name="T101" fmla="*/ 98 h 128"/>
                <a:gd name="T102" fmla="*/ 17 w 120"/>
                <a:gd name="T103" fmla="*/ 98 h 128"/>
                <a:gd name="T104" fmla="*/ 17 w 120"/>
                <a:gd name="T105" fmla="*/ 98 h 128"/>
                <a:gd name="T106" fmla="*/ 17 w 120"/>
                <a:gd name="T107" fmla="*/ 9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0" h="128">
                  <a:moveTo>
                    <a:pt x="92" y="104"/>
                  </a:moveTo>
                  <a:lnTo>
                    <a:pt x="78" y="116"/>
                  </a:lnTo>
                  <a:lnTo>
                    <a:pt x="71" y="128"/>
                  </a:lnTo>
                  <a:lnTo>
                    <a:pt x="54" y="122"/>
                  </a:lnTo>
                  <a:lnTo>
                    <a:pt x="29" y="107"/>
                  </a:lnTo>
                  <a:lnTo>
                    <a:pt x="33" y="104"/>
                  </a:lnTo>
                  <a:lnTo>
                    <a:pt x="42" y="98"/>
                  </a:lnTo>
                  <a:lnTo>
                    <a:pt x="33" y="104"/>
                  </a:lnTo>
                  <a:lnTo>
                    <a:pt x="12" y="91"/>
                  </a:lnTo>
                  <a:lnTo>
                    <a:pt x="17" y="85"/>
                  </a:lnTo>
                  <a:lnTo>
                    <a:pt x="12" y="72"/>
                  </a:lnTo>
                  <a:lnTo>
                    <a:pt x="9" y="75"/>
                  </a:lnTo>
                  <a:lnTo>
                    <a:pt x="0" y="63"/>
                  </a:lnTo>
                  <a:lnTo>
                    <a:pt x="9" y="66"/>
                  </a:lnTo>
                  <a:lnTo>
                    <a:pt x="9" y="66"/>
                  </a:lnTo>
                  <a:lnTo>
                    <a:pt x="17" y="63"/>
                  </a:lnTo>
                  <a:lnTo>
                    <a:pt x="3" y="63"/>
                  </a:lnTo>
                  <a:lnTo>
                    <a:pt x="3" y="51"/>
                  </a:lnTo>
                  <a:lnTo>
                    <a:pt x="9" y="51"/>
                  </a:lnTo>
                  <a:lnTo>
                    <a:pt x="0" y="41"/>
                  </a:lnTo>
                  <a:lnTo>
                    <a:pt x="9" y="41"/>
                  </a:lnTo>
                  <a:lnTo>
                    <a:pt x="12" y="32"/>
                  </a:lnTo>
                  <a:lnTo>
                    <a:pt x="24" y="28"/>
                  </a:lnTo>
                  <a:lnTo>
                    <a:pt x="33" y="3"/>
                  </a:lnTo>
                  <a:lnTo>
                    <a:pt x="42" y="3"/>
                  </a:lnTo>
                  <a:lnTo>
                    <a:pt x="48" y="10"/>
                  </a:lnTo>
                  <a:lnTo>
                    <a:pt x="54" y="3"/>
                  </a:lnTo>
                  <a:lnTo>
                    <a:pt x="54" y="0"/>
                  </a:lnTo>
                  <a:lnTo>
                    <a:pt x="81" y="0"/>
                  </a:lnTo>
                  <a:lnTo>
                    <a:pt x="102" y="32"/>
                  </a:lnTo>
                  <a:lnTo>
                    <a:pt x="99" y="41"/>
                  </a:lnTo>
                  <a:lnTo>
                    <a:pt x="108" y="41"/>
                  </a:lnTo>
                  <a:lnTo>
                    <a:pt x="108" y="51"/>
                  </a:lnTo>
                  <a:lnTo>
                    <a:pt x="111" y="54"/>
                  </a:lnTo>
                  <a:lnTo>
                    <a:pt x="102" y="72"/>
                  </a:lnTo>
                  <a:lnTo>
                    <a:pt x="120" y="63"/>
                  </a:lnTo>
                  <a:lnTo>
                    <a:pt x="114" y="75"/>
                  </a:lnTo>
                  <a:lnTo>
                    <a:pt x="108" y="81"/>
                  </a:lnTo>
                  <a:lnTo>
                    <a:pt x="108" y="95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close/>
                  <a:moveTo>
                    <a:pt x="17" y="98"/>
                  </a:moveTo>
                  <a:lnTo>
                    <a:pt x="29" y="98"/>
                  </a:lnTo>
                  <a:lnTo>
                    <a:pt x="29" y="104"/>
                  </a:lnTo>
                  <a:lnTo>
                    <a:pt x="29" y="107"/>
                  </a:lnTo>
                  <a:lnTo>
                    <a:pt x="12" y="104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61" name="Freeform 47">
              <a:extLst>
                <a:ext uri="{FF2B5EF4-FFF2-40B4-BE49-F238E27FC236}">
                  <a16:creationId xmlns:a16="http://schemas.microsoft.com/office/drawing/2014/main" id="{6E4ECE68-8F2A-4C83-884F-35E9D55517F6}"/>
                </a:ext>
              </a:extLst>
            </p:cNvPr>
            <p:cNvSpPr>
              <a:spLocks/>
            </p:cNvSpPr>
            <p:nvPr/>
          </p:nvSpPr>
          <p:spPr bwMode="gray">
            <a:xfrm>
              <a:off x="7695398" y="4788410"/>
              <a:ext cx="377954" cy="516321"/>
            </a:xfrm>
            <a:custGeom>
              <a:avLst/>
              <a:gdLst>
                <a:gd name="T0" fmla="*/ 73 w 407"/>
                <a:gd name="T1" fmla="*/ 311 h 556"/>
                <a:gd name="T2" fmla="*/ 103 w 407"/>
                <a:gd name="T3" fmla="*/ 289 h 556"/>
                <a:gd name="T4" fmla="*/ 155 w 407"/>
                <a:gd name="T5" fmla="*/ 289 h 556"/>
                <a:gd name="T6" fmla="*/ 234 w 407"/>
                <a:gd name="T7" fmla="*/ 166 h 556"/>
                <a:gd name="T8" fmla="*/ 103 w 407"/>
                <a:gd name="T9" fmla="*/ 109 h 556"/>
                <a:gd name="T10" fmla="*/ 85 w 407"/>
                <a:gd name="T11" fmla="*/ 85 h 556"/>
                <a:gd name="T12" fmla="*/ 73 w 407"/>
                <a:gd name="T13" fmla="*/ 72 h 556"/>
                <a:gd name="T14" fmla="*/ 73 w 407"/>
                <a:gd name="T15" fmla="*/ 41 h 556"/>
                <a:gd name="T16" fmla="*/ 94 w 407"/>
                <a:gd name="T17" fmla="*/ 28 h 556"/>
                <a:gd name="T18" fmla="*/ 131 w 407"/>
                <a:gd name="T19" fmla="*/ 63 h 556"/>
                <a:gd name="T20" fmla="*/ 186 w 407"/>
                <a:gd name="T21" fmla="*/ 48 h 556"/>
                <a:gd name="T22" fmla="*/ 252 w 407"/>
                <a:gd name="T23" fmla="*/ 37 h 556"/>
                <a:gd name="T24" fmla="*/ 282 w 407"/>
                <a:gd name="T25" fmla="*/ 37 h 556"/>
                <a:gd name="T26" fmla="*/ 313 w 407"/>
                <a:gd name="T27" fmla="*/ 32 h 556"/>
                <a:gd name="T28" fmla="*/ 337 w 407"/>
                <a:gd name="T29" fmla="*/ 23 h 556"/>
                <a:gd name="T30" fmla="*/ 367 w 407"/>
                <a:gd name="T31" fmla="*/ 16 h 556"/>
                <a:gd name="T32" fmla="*/ 386 w 407"/>
                <a:gd name="T33" fmla="*/ 0 h 556"/>
                <a:gd name="T34" fmla="*/ 395 w 407"/>
                <a:gd name="T35" fmla="*/ 28 h 556"/>
                <a:gd name="T36" fmla="*/ 398 w 407"/>
                <a:gd name="T37" fmla="*/ 37 h 556"/>
                <a:gd name="T38" fmla="*/ 395 w 407"/>
                <a:gd name="T39" fmla="*/ 63 h 556"/>
                <a:gd name="T40" fmla="*/ 398 w 407"/>
                <a:gd name="T41" fmla="*/ 60 h 556"/>
                <a:gd name="T42" fmla="*/ 407 w 407"/>
                <a:gd name="T43" fmla="*/ 69 h 556"/>
                <a:gd name="T44" fmla="*/ 388 w 407"/>
                <a:gd name="T45" fmla="*/ 69 h 556"/>
                <a:gd name="T46" fmla="*/ 367 w 407"/>
                <a:gd name="T47" fmla="*/ 131 h 556"/>
                <a:gd name="T48" fmla="*/ 346 w 407"/>
                <a:gd name="T49" fmla="*/ 166 h 556"/>
                <a:gd name="T50" fmla="*/ 319 w 407"/>
                <a:gd name="T51" fmla="*/ 214 h 556"/>
                <a:gd name="T52" fmla="*/ 273 w 407"/>
                <a:gd name="T53" fmla="*/ 307 h 556"/>
                <a:gd name="T54" fmla="*/ 136 w 407"/>
                <a:gd name="T55" fmla="*/ 422 h 556"/>
                <a:gd name="T56" fmla="*/ 40 w 407"/>
                <a:gd name="T57" fmla="*/ 525 h 556"/>
                <a:gd name="T58" fmla="*/ 0 w 407"/>
                <a:gd name="T59" fmla="*/ 525 h 556"/>
                <a:gd name="T60" fmla="*/ 12 w 407"/>
                <a:gd name="T61" fmla="*/ 360 h 556"/>
                <a:gd name="T62" fmla="*/ 40 w 407"/>
                <a:gd name="T63" fmla="*/ 320 h 556"/>
                <a:gd name="T64" fmla="*/ 40 w 407"/>
                <a:gd name="T65" fmla="*/ 320 h 556"/>
                <a:gd name="T66" fmla="*/ 40 w 407"/>
                <a:gd name="T67" fmla="*/ 320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7" h="556">
                  <a:moveTo>
                    <a:pt x="40" y="320"/>
                  </a:moveTo>
                  <a:lnTo>
                    <a:pt x="73" y="311"/>
                  </a:lnTo>
                  <a:lnTo>
                    <a:pt x="82" y="298"/>
                  </a:lnTo>
                  <a:lnTo>
                    <a:pt x="103" y="289"/>
                  </a:lnTo>
                  <a:lnTo>
                    <a:pt x="115" y="286"/>
                  </a:lnTo>
                  <a:lnTo>
                    <a:pt x="155" y="289"/>
                  </a:lnTo>
                  <a:lnTo>
                    <a:pt x="273" y="166"/>
                  </a:lnTo>
                  <a:lnTo>
                    <a:pt x="234" y="166"/>
                  </a:lnTo>
                  <a:lnTo>
                    <a:pt x="115" y="125"/>
                  </a:lnTo>
                  <a:lnTo>
                    <a:pt x="103" y="109"/>
                  </a:lnTo>
                  <a:lnTo>
                    <a:pt x="94" y="109"/>
                  </a:lnTo>
                  <a:lnTo>
                    <a:pt x="85" y="85"/>
                  </a:lnTo>
                  <a:lnTo>
                    <a:pt x="82" y="85"/>
                  </a:lnTo>
                  <a:lnTo>
                    <a:pt x="73" y="72"/>
                  </a:lnTo>
                  <a:lnTo>
                    <a:pt x="63" y="60"/>
                  </a:lnTo>
                  <a:lnTo>
                    <a:pt x="73" y="41"/>
                  </a:lnTo>
                  <a:lnTo>
                    <a:pt x="85" y="23"/>
                  </a:lnTo>
                  <a:lnTo>
                    <a:pt x="94" y="28"/>
                  </a:lnTo>
                  <a:lnTo>
                    <a:pt x="106" y="50"/>
                  </a:lnTo>
                  <a:lnTo>
                    <a:pt x="131" y="63"/>
                  </a:lnTo>
                  <a:lnTo>
                    <a:pt x="153" y="69"/>
                  </a:lnTo>
                  <a:lnTo>
                    <a:pt x="186" y="48"/>
                  </a:lnTo>
                  <a:lnTo>
                    <a:pt x="212" y="53"/>
                  </a:lnTo>
                  <a:lnTo>
                    <a:pt x="252" y="37"/>
                  </a:lnTo>
                  <a:lnTo>
                    <a:pt x="264" y="37"/>
                  </a:lnTo>
                  <a:lnTo>
                    <a:pt x="282" y="37"/>
                  </a:lnTo>
                  <a:lnTo>
                    <a:pt x="294" y="28"/>
                  </a:lnTo>
                  <a:lnTo>
                    <a:pt x="313" y="32"/>
                  </a:lnTo>
                  <a:lnTo>
                    <a:pt x="327" y="28"/>
                  </a:lnTo>
                  <a:lnTo>
                    <a:pt x="337" y="23"/>
                  </a:lnTo>
                  <a:lnTo>
                    <a:pt x="355" y="23"/>
                  </a:lnTo>
                  <a:lnTo>
                    <a:pt x="367" y="16"/>
                  </a:lnTo>
                  <a:lnTo>
                    <a:pt x="377" y="7"/>
                  </a:lnTo>
                  <a:lnTo>
                    <a:pt x="386" y="0"/>
                  </a:lnTo>
                  <a:lnTo>
                    <a:pt x="404" y="7"/>
                  </a:lnTo>
                  <a:lnTo>
                    <a:pt x="395" y="28"/>
                  </a:lnTo>
                  <a:lnTo>
                    <a:pt x="395" y="32"/>
                  </a:lnTo>
                  <a:lnTo>
                    <a:pt x="398" y="37"/>
                  </a:lnTo>
                  <a:lnTo>
                    <a:pt x="398" y="60"/>
                  </a:lnTo>
                  <a:lnTo>
                    <a:pt x="395" y="63"/>
                  </a:lnTo>
                  <a:lnTo>
                    <a:pt x="398" y="63"/>
                  </a:lnTo>
                  <a:lnTo>
                    <a:pt x="398" y="60"/>
                  </a:lnTo>
                  <a:lnTo>
                    <a:pt x="407" y="63"/>
                  </a:lnTo>
                  <a:lnTo>
                    <a:pt x="407" y="69"/>
                  </a:lnTo>
                  <a:lnTo>
                    <a:pt x="404" y="63"/>
                  </a:lnTo>
                  <a:lnTo>
                    <a:pt x="388" y="69"/>
                  </a:lnTo>
                  <a:lnTo>
                    <a:pt x="386" y="109"/>
                  </a:lnTo>
                  <a:lnTo>
                    <a:pt x="367" y="131"/>
                  </a:lnTo>
                  <a:lnTo>
                    <a:pt x="358" y="156"/>
                  </a:lnTo>
                  <a:lnTo>
                    <a:pt x="346" y="166"/>
                  </a:lnTo>
                  <a:lnTo>
                    <a:pt x="344" y="184"/>
                  </a:lnTo>
                  <a:lnTo>
                    <a:pt x="319" y="214"/>
                  </a:lnTo>
                  <a:lnTo>
                    <a:pt x="315" y="240"/>
                  </a:lnTo>
                  <a:lnTo>
                    <a:pt x="273" y="307"/>
                  </a:lnTo>
                  <a:lnTo>
                    <a:pt x="195" y="392"/>
                  </a:lnTo>
                  <a:lnTo>
                    <a:pt x="136" y="422"/>
                  </a:lnTo>
                  <a:lnTo>
                    <a:pt x="94" y="463"/>
                  </a:lnTo>
                  <a:lnTo>
                    <a:pt x="40" y="525"/>
                  </a:lnTo>
                  <a:lnTo>
                    <a:pt x="21" y="556"/>
                  </a:lnTo>
                  <a:lnTo>
                    <a:pt x="0" y="525"/>
                  </a:lnTo>
                  <a:lnTo>
                    <a:pt x="0" y="373"/>
                  </a:lnTo>
                  <a:lnTo>
                    <a:pt x="12" y="360"/>
                  </a:lnTo>
                  <a:lnTo>
                    <a:pt x="33" y="327"/>
                  </a:lnTo>
                  <a:lnTo>
                    <a:pt x="40" y="320"/>
                  </a:lnTo>
                  <a:lnTo>
                    <a:pt x="40" y="320"/>
                  </a:lnTo>
                  <a:lnTo>
                    <a:pt x="40" y="320"/>
                  </a:lnTo>
                  <a:lnTo>
                    <a:pt x="40" y="320"/>
                  </a:lnTo>
                  <a:lnTo>
                    <a:pt x="40" y="32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62" name="Freeform 48">
              <a:extLst>
                <a:ext uri="{FF2B5EF4-FFF2-40B4-BE49-F238E27FC236}">
                  <a16:creationId xmlns:a16="http://schemas.microsoft.com/office/drawing/2014/main" id="{9137DF46-79B1-42E6-B4E2-820D66D4E976}"/>
                </a:ext>
              </a:extLst>
            </p:cNvPr>
            <p:cNvSpPr>
              <a:spLocks/>
            </p:cNvSpPr>
            <p:nvPr/>
          </p:nvSpPr>
          <p:spPr bwMode="gray">
            <a:xfrm>
              <a:off x="6193795" y="4822769"/>
              <a:ext cx="72434" cy="186655"/>
            </a:xfrm>
            <a:custGeom>
              <a:avLst/>
              <a:gdLst>
                <a:gd name="T0" fmla="*/ 72 w 78"/>
                <a:gd name="T1" fmla="*/ 145 h 201"/>
                <a:gd name="T2" fmla="*/ 72 w 78"/>
                <a:gd name="T3" fmla="*/ 166 h 201"/>
                <a:gd name="T4" fmla="*/ 69 w 78"/>
                <a:gd name="T5" fmla="*/ 166 h 201"/>
                <a:gd name="T6" fmla="*/ 69 w 78"/>
                <a:gd name="T7" fmla="*/ 180 h 201"/>
                <a:gd name="T8" fmla="*/ 78 w 78"/>
                <a:gd name="T9" fmla="*/ 195 h 201"/>
                <a:gd name="T10" fmla="*/ 72 w 78"/>
                <a:gd name="T11" fmla="*/ 198 h 201"/>
                <a:gd name="T12" fmla="*/ 53 w 78"/>
                <a:gd name="T13" fmla="*/ 201 h 201"/>
                <a:gd name="T14" fmla="*/ 46 w 78"/>
                <a:gd name="T15" fmla="*/ 195 h 201"/>
                <a:gd name="T16" fmla="*/ 37 w 78"/>
                <a:gd name="T17" fmla="*/ 189 h 201"/>
                <a:gd name="T18" fmla="*/ 28 w 78"/>
                <a:gd name="T19" fmla="*/ 166 h 201"/>
                <a:gd name="T20" fmla="*/ 32 w 78"/>
                <a:gd name="T21" fmla="*/ 166 h 201"/>
                <a:gd name="T22" fmla="*/ 32 w 78"/>
                <a:gd name="T23" fmla="*/ 154 h 201"/>
                <a:gd name="T24" fmla="*/ 28 w 78"/>
                <a:gd name="T25" fmla="*/ 148 h 201"/>
                <a:gd name="T26" fmla="*/ 28 w 78"/>
                <a:gd name="T27" fmla="*/ 145 h 201"/>
                <a:gd name="T28" fmla="*/ 28 w 78"/>
                <a:gd name="T29" fmla="*/ 136 h 201"/>
                <a:gd name="T30" fmla="*/ 32 w 78"/>
                <a:gd name="T31" fmla="*/ 117 h 201"/>
                <a:gd name="T32" fmla="*/ 37 w 78"/>
                <a:gd name="T33" fmla="*/ 114 h 201"/>
                <a:gd name="T34" fmla="*/ 18 w 78"/>
                <a:gd name="T35" fmla="*/ 95 h 201"/>
                <a:gd name="T36" fmla="*/ 28 w 78"/>
                <a:gd name="T37" fmla="*/ 92 h 201"/>
                <a:gd name="T38" fmla="*/ 22 w 78"/>
                <a:gd name="T39" fmla="*/ 83 h 201"/>
                <a:gd name="T40" fmla="*/ 28 w 78"/>
                <a:gd name="T41" fmla="*/ 71 h 201"/>
                <a:gd name="T42" fmla="*/ 22 w 78"/>
                <a:gd name="T43" fmla="*/ 65 h 201"/>
                <a:gd name="T44" fmla="*/ 16 w 78"/>
                <a:gd name="T45" fmla="*/ 65 h 201"/>
                <a:gd name="T46" fmla="*/ 22 w 78"/>
                <a:gd name="T47" fmla="*/ 42 h 201"/>
                <a:gd name="T48" fmla="*/ 18 w 78"/>
                <a:gd name="T49" fmla="*/ 33 h 201"/>
                <a:gd name="T50" fmla="*/ 18 w 78"/>
                <a:gd name="T51" fmla="*/ 30 h 201"/>
                <a:gd name="T52" fmla="*/ 0 w 78"/>
                <a:gd name="T53" fmla="*/ 14 h 201"/>
                <a:gd name="T54" fmla="*/ 6 w 78"/>
                <a:gd name="T55" fmla="*/ 3 h 201"/>
                <a:gd name="T56" fmla="*/ 0 w 78"/>
                <a:gd name="T57" fmla="*/ 0 h 201"/>
                <a:gd name="T58" fmla="*/ 28 w 78"/>
                <a:gd name="T59" fmla="*/ 3 h 201"/>
                <a:gd name="T60" fmla="*/ 28 w 78"/>
                <a:gd name="T61" fmla="*/ 9 h 201"/>
                <a:gd name="T62" fmla="*/ 41 w 78"/>
                <a:gd name="T63" fmla="*/ 3 h 201"/>
                <a:gd name="T64" fmla="*/ 37 w 78"/>
                <a:gd name="T65" fmla="*/ 30 h 201"/>
                <a:gd name="T66" fmla="*/ 59 w 78"/>
                <a:gd name="T67" fmla="*/ 42 h 201"/>
                <a:gd name="T68" fmla="*/ 59 w 78"/>
                <a:gd name="T69" fmla="*/ 65 h 201"/>
                <a:gd name="T70" fmla="*/ 72 w 78"/>
                <a:gd name="T71" fmla="*/ 83 h 201"/>
                <a:gd name="T72" fmla="*/ 72 w 78"/>
                <a:gd name="T73" fmla="*/ 145 h 201"/>
                <a:gd name="T74" fmla="*/ 72 w 78"/>
                <a:gd name="T75" fmla="*/ 145 h 201"/>
                <a:gd name="T76" fmla="*/ 72 w 78"/>
                <a:gd name="T77" fmla="*/ 145 h 201"/>
                <a:gd name="T78" fmla="*/ 72 w 78"/>
                <a:gd name="T79" fmla="*/ 145 h 201"/>
                <a:gd name="T80" fmla="*/ 72 w 78"/>
                <a:gd name="T81" fmla="*/ 145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8" h="201">
                  <a:moveTo>
                    <a:pt x="72" y="145"/>
                  </a:moveTo>
                  <a:lnTo>
                    <a:pt x="72" y="166"/>
                  </a:lnTo>
                  <a:lnTo>
                    <a:pt x="69" y="166"/>
                  </a:lnTo>
                  <a:lnTo>
                    <a:pt x="69" y="180"/>
                  </a:lnTo>
                  <a:lnTo>
                    <a:pt x="78" y="195"/>
                  </a:lnTo>
                  <a:lnTo>
                    <a:pt x="72" y="198"/>
                  </a:lnTo>
                  <a:lnTo>
                    <a:pt x="53" y="201"/>
                  </a:lnTo>
                  <a:lnTo>
                    <a:pt x="46" y="195"/>
                  </a:lnTo>
                  <a:lnTo>
                    <a:pt x="37" y="189"/>
                  </a:lnTo>
                  <a:lnTo>
                    <a:pt x="28" y="166"/>
                  </a:lnTo>
                  <a:lnTo>
                    <a:pt x="32" y="166"/>
                  </a:lnTo>
                  <a:lnTo>
                    <a:pt x="32" y="154"/>
                  </a:lnTo>
                  <a:lnTo>
                    <a:pt x="28" y="148"/>
                  </a:lnTo>
                  <a:lnTo>
                    <a:pt x="28" y="145"/>
                  </a:lnTo>
                  <a:lnTo>
                    <a:pt x="28" y="136"/>
                  </a:lnTo>
                  <a:lnTo>
                    <a:pt x="32" y="117"/>
                  </a:lnTo>
                  <a:lnTo>
                    <a:pt x="37" y="114"/>
                  </a:lnTo>
                  <a:lnTo>
                    <a:pt x="18" y="95"/>
                  </a:lnTo>
                  <a:lnTo>
                    <a:pt x="28" y="92"/>
                  </a:lnTo>
                  <a:lnTo>
                    <a:pt x="22" y="83"/>
                  </a:lnTo>
                  <a:lnTo>
                    <a:pt x="28" y="71"/>
                  </a:lnTo>
                  <a:lnTo>
                    <a:pt x="22" y="65"/>
                  </a:lnTo>
                  <a:lnTo>
                    <a:pt x="16" y="65"/>
                  </a:lnTo>
                  <a:lnTo>
                    <a:pt x="22" y="42"/>
                  </a:lnTo>
                  <a:lnTo>
                    <a:pt x="18" y="33"/>
                  </a:lnTo>
                  <a:lnTo>
                    <a:pt x="18" y="30"/>
                  </a:lnTo>
                  <a:lnTo>
                    <a:pt x="0" y="14"/>
                  </a:lnTo>
                  <a:lnTo>
                    <a:pt x="6" y="3"/>
                  </a:lnTo>
                  <a:lnTo>
                    <a:pt x="0" y="0"/>
                  </a:lnTo>
                  <a:lnTo>
                    <a:pt x="28" y="3"/>
                  </a:lnTo>
                  <a:lnTo>
                    <a:pt x="28" y="9"/>
                  </a:lnTo>
                  <a:lnTo>
                    <a:pt x="41" y="3"/>
                  </a:lnTo>
                  <a:lnTo>
                    <a:pt x="37" y="30"/>
                  </a:lnTo>
                  <a:lnTo>
                    <a:pt x="59" y="42"/>
                  </a:lnTo>
                  <a:lnTo>
                    <a:pt x="59" y="65"/>
                  </a:lnTo>
                  <a:lnTo>
                    <a:pt x="72" y="83"/>
                  </a:lnTo>
                  <a:lnTo>
                    <a:pt x="72" y="145"/>
                  </a:lnTo>
                  <a:lnTo>
                    <a:pt x="72" y="145"/>
                  </a:lnTo>
                  <a:lnTo>
                    <a:pt x="72" y="145"/>
                  </a:lnTo>
                  <a:lnTo>
                    <a:pt x="72" y="145"/>
                  </a:lnTo>
                  <a:lnTo>
                    <a:pt x="72" y="145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63" name="Freeform 49">
              <a:extLst>
                <a:ext uri="{FF2B5EF4-FFF2-40B4-BE49-F238E27FC236}">
                  <a16:creationId xmlns:a16="http://schemas.microsoft.com/office/drawing/2014/main" id="{80816BB9-1472-4955-9469-C6B52BBF26E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72386" y="3776199"/>
              <a:ext cx="147653" cy="298091"/>
            </a:xfrm>
            <a:custGeom>
              <a:avLst/>
              <a:gdLst>
                <a:gd name="T0" fmla="*/ 13 w 159"/>
                <a:gd name="T1" fmla="*/ 140 h 321"/>
                <a:gd name="T2" fmla="*/ 31 w 159"/>
                <a:gd name="T3" fmla="*/ 124 h 321"/>
                <a:gd name="T4" fmla="*/ 33 w 159"/>
                <a:gd name="T5" fmla="*/ 87 h 321"/>
                <a:gd name="T6" fmla="*/ 31 w 159"/>
                <a:gd name="T7" fmla="*/ 65 h 321"/>
                <a:gd name="T8" fmla="*/ 25 w 159"/>
                <a:gd name="T9" fmla="*/ 35 h 321"/>
                <a:gd name="T10" fmla="*/ 42 w 159"/>
                <a:gd name="T11" fmla="*/ 15 h 321"/>
                <a:gd name="T12" fmla="*/ 94 w 159"/>
                <a:gd name="T13" fmla="*/ 0 h 321"/>
                <a:gd name="T14" fmla="*/ 90 w 159"/>
                <a:gd name="T15" fmla="*/ 10 h 321"/>
                <a:gd name="T16" fmla="*/ 94 w 159"/>
                <a:gd name="T17" fmla="*/ 3 h 321"/>
                <a:gd name="T18" fmla="*/ 108 w 159"/>
                <a:gd name="T19" fmla="*/ 3 h 321"/>
                <a:gd name="T20" fmla="*/ 108 w 159"/>
                <a:gd name="T21" fmla="*/ 10 h 321"/>
                <a:gd name="T22" fmla="*/ 111 w 159"/>
                <a:gd name="T23" fmla="*/ 21 h 321"/>
                <a:gd name="T24" fmla="*/ 111 w 159"/>
                <a:gd name="T25" fmla="*/ 24 h 321"/>
                <a:gd name="T26" fmla="*/ 141 w 159"/>
                <a:gd name="T27" fmla="*/ 15 h 321"/>
                <a:gd name="T28" fmla="*/ 120 w 159"/>
                <a:gd name="T29" fmla="*/ 44 h 321"/>
                <a:gd name="T30" fmla="*/ 123 w 159"/>
                <a:gd name="T31" fmla="*/ 72 h 321"/>
                <a:gd name="T32" fmla="*/ 139 w 159"/>
                <a:gd name="T33" fmla="*/ 87 h 321"/>
                <a:gd name="T34" fmla="*/ 130 w 159"/>
                <a:gd name="T35" fmla="*/ 117 h 321"/>
                <a:gd name="T36" fmla="*/ 99 w 159"/>
                <a:gd name="T37" fmla="*/ 140 h 321"/>
                <a:gd name="T38" fmla="*/ 111 w 159"/>
                <a:gd name="T39" fmla="*/ 166 h 321"/>
                <a:gd name="T40" fmla="*/ 123 w 159"/>
                <a:gd name="T41" fmla="*/ 166 h 321"/>
                <a:gd name="T42" fmla="*/ 130 w 159"/>
                <a:gd name="T43" fmla="*/ 177 h 321"/>
                <a:gd name="T44" fmla="*/ 132 w 159"/>
                <a:gd name="T45" fmla="*/ 168 h 321"/>
                <a:gd name="T46" fmla="*/ 144 w 159"/>
                <a:gd name="T47" fmla="*/ 186 h 321"/>
                <a:gd name="T48" fmla="*/ 153 w 159"/>
                <a:gd name="T49" fmla="*/ 211 h 321"/>
                <a:gd name="T50" fmla="*/ 132 w 159"/>
                <a:gd name="T51" fmla="*/ 234 h 321"/>
                <a:gd name="T52" fmla="*/ 111 w 159"/>
                <a:gd name="T53" fmla="*/ 259 h 321"/>
                <a:gd name="T54" fmla="*/ 111 w 159"/>
                <a:gd name="T55" fmla="*/ 290 h 321"/>
                <a:gd name="T56" fmla="*/ 94 w 159"/>
                <a:gd name="T57" fmla="*/ 314 h 321"/>
                <a:gd name="T58" fmla="*/ 61 w 159"/>
                <a:gd name="T59" fmla="*/ 240 h 321"/>
                <a:gd name="T60" fmla="*/ 33 w 159"/>
                <a:gd name="T61" fmla="*/ 202 h 321"/>
                <a:gd name="T62" fmla="*/ 9 w 159"/>
                <a:gd name="T63" fmla="*/ 186 h 321"/>
                <a:gd name="T64" fmla="*/ 0 w 159"/>
                <a:gd name="T65" fmla="*/ 147 h 321"/>
                <a:gd name="T66" fmla="*/ 0 w 159"/>
                <a:gd name="T67" fmla="*/ 147 h 321"/>
                <a:gd name="T68" fmla="*/ 0 w 159"/>
                <a:gd name="T69" fmla="*/ 147 h 321"/>
                <a:gd name="T70" fmla="*/ 144 w 159"/>
                <a:gd name="T71" fmla="*/ 115 h 321"/>
                <a:gd name="T72" fmla="*/ 141 w 159"/>
                <a:gd name="T73" fmla="*/ 117 h 321"/>
                <a:gd name="T74" fmla="*/ 141 w 159"/>
                <a:gd name="T75" fmla="*/ 117 h 321"/>
                <a:gd name="T76" fmla="*/ 141 w 159"/>
                <a:gd name="T77" fmla="*/ 117 h 321"/>
                <a:gd name="T78" fmla="*/ 130 w 159"/>
                <a:gd name="T79" fmla="*/ 166 h 321"/>
                <a:gd name="T80" fmla="*/ 130 w 159"/>
                <a:gd name="T81" fmla="*/ 156 h 321"/>
                <a:gd name="T82" fmla="*/ 132 w 159"/>
                <a:gd name="T83" fmla="*/ 168 h 321"/>
                <a:gd name="T84" fmla="*/ 132 w 159"/>
                <a:gd name="T85" fmla="*/ 168 h 321"/>
                <a:gd name="T86" fmla="*/ 132 w 159"/>
                <a:gd name="T87" fmla="*/ 168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9" h="321">
                  <a:moveTo>
                    <a:pt x="0" y="147"/>
                  </a:moveTo>
                  <a:lnTo>
                    <a:pt x="13" y="140"/>
                  </a:lnTo>
                  <a:lnTo>
                    <a:pt x="13" y="134"/>
                  </a:lnTo>
                  <a:lnTo>
                    <a:pt x="31" y="124"/>
                  </a:lnTo>
                  <a:lnTo>
                    <a:pt x="33" y="97"/>
                  </a:lnTo>
                  <a:lnTo>
                    <a:pt x="33" y="87"/>
                  </a:lnTo>
                  <a:lnTo>
                    <a:pt x="33" y="74"/>
                  </a:lnTo>
                  <a:lnTo>
                    <a:pt x="31" y="65"/>
                  </a:lnTo>
                  <a:lnTo>
                    <a:pt x="33" y="40"/>
                  </a:lnTo>
                  <a:lnTo>
                    <a:pt x="25" y="35"/>
                  </a:lnTo>
                  <a:lnTo>
                    <a:pt x="49" y="21"/>
                  </a:lnTo>
                  <a:lnTo>
                    <a:pt x="42" y="15"/>
                  </a:lnTo>
                  <a:lnTo>
                    <a:pt x="84" y="0"/>
                  </a:lnTo>
                  <a:lnTo>
                    <a:pt x="94" y="0"/>
                  </a:lnTo>
                  <a:lnTo>
                    <a:pt x="90" y="3"/>
                  </a:lnTo>
                  <a:lnTo>
                    <a:pt x="90" y="10"/>
                  </a:lnTo>
                  <a:lnTo>
                    <a:pt x="94" y="3"/>
                  </a:lnTo>
                  <a:lnTo>
                    <a:pt x="94" y="3"/>
                  </a:lnTo>
                  <a:lnTo>
                    <a:pt x="99" y="0"/>
                  </a:lnTo>
                  <a:lnTo>
                    <a:pt x="108" y="3"/>
                  </a:lnTo>
                  <a:lnTo>
                    <a:pt x="102" y="10"/>
                  </a:lnTo>
                  <a:lnTo>
                    <a:pt x="108" y="10"/>
                  </a:lnTo>
                  <a:lnTo>
                    <a:pt x="108" y="12"/>
                  </a:lnTo>
                  <a:lnTo>
                    <a:pt x="111" y="21"/>
                  </a:lnTo>
                  <a:lnTo>
                    <a:pt x="108" y="21"/>
                  </a:lnTo>
                  <a:lnTo>
                    <a:pt x="111" y="24"/>
                  </a:lnTo>
                  <a:lnTo>
                    <a:pt x="139" y="10"/>
                  </a:lnTo>
                  <a:lnTo>
                    <a:pt x="141" y="15"/>
                  </a:lnTo>
                  <a:lnTo>
                    <a:pt x="130" y="40"/>
                  </a:lnTo>
                  <a:lnTo>
                    <a:pt x="120" y="44"/>
                  </a:lnTo>
                  <a:lnTo>
                    <a:pt x="113" y="53"/>
                  </a:lnTo>
                  <a:lnTo>
                    <a:pt x="123" y="72"/>
                  </a:lnTo>
                  <a:lnTo>
                    <a:pt x="139" y="74"/>
                  </a:lnTo>
                  <a:lnTo>
                    <a:pt x="139" y="87"/>
                  </a:lnTo>
                  <a:lnTo>
                    <a:pt x="141" y="97"/>
                  </a:lnTo>
                  <a:lnTo>
                    <a:pt x="130" y="117"/>
                  </a:lnTo>
                  <a:lnTo>
                    <a:pt x="102" y="138"/>
                  </a:lnTo>
                  <a:lnTo>
                    <a:pt x="99" y="140"/>
                  </a:lnTo>
                  <a:lnTo>
                    <a:pt x="102" y="156"/>
                  </a:lnTo>
                  <a:lnTo>
                    <a:pt x="111" y="166"/>
                  </a:lnTo>
                  <a:lnTo>
                    <a:pt x="113" y="168"/>
                  </a:lnTo>
                  <a:lnTo>
                    <a:pt x="123" y="166"/>
                  </a:lnTo>
                  <a:lnTo>
                    <a:pt x="123" y="172"/>
                  </a:lnTo>
                  <a:lnTo>
                    <a:pt x="130" y="177"/>
                  </a:lnTo>
                  <a:lnTo>
                    <a:pt x="132" y="172"/>
                  </a:lnTo>
                  <a:lnTo>
                    <a:pt x="132" y="168"/>
                  </a:lnTo>
                  <a:lnTo>
                    <a:pt x="139" y="168"/>
                  </a:lnTo>
                  <a:lnTo>
                    <a:pt x="144" y="186"/>
                  </a:lnTo>
                  <a:lnTo>
                    <a:pt x="159" y="190"/>
                  </a:lnTo>
                  <a:lnTo>
                    <a:pt x="153" y="211"/>
                  </a:lnTo>
                  <a:lnTo>
                    <a:pt x="159" y="221"/>
                  </a:lnTo>
                  <a:lnTo>
                    <a:pt x="132" y="234"/>
                  </a:lnTo>
                  <a:lnTo>
                    <a:pt x="113" y="252"/>
                  </a:lnTo>
                  <a:lnTo>
                    <a:pt x="111" y="259"/>
                  </a:lnTo>
                  <a:lnTo>
                    <a:pt x="102" y="265"/>
                  </a:lnTo>
                  <a:lnTo>
                    <a:pt x="111" y="290"/>
                  </a:lnTo>
                  <a:lnTo>
                    <a:pt x="108" y="296"/>
                  </a:lnTo>
                  <a:lnTo>
                    <a:pt x="94" y="314"/>
                  </a:lnTo>
                  <a:lnTo>
                    <a:pt x="82" y="321"/>
                  </a:lnTo>
                  <a:lnTo>
                    <a:pt x="61" y="240"/>
                  </a:lnTo>
                  <a:lnTo>
                    <a:pt x="33" y="218"/>
                  </a:lnTo>
                  <a:lnTo>
                    <a:pt x="33" y="202"/>
                  </a:lnTo>
                  <a:lnTo>
                    <a:pt x="25" y="190"/>
                  </a:lnTo>
                  <a:lnTo>
                    <a:pt x="9" y="186"/>
                  </a:lnTo>
                  <a:lnTo>
                    <a:pt x="0" y="156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47"/>
                  </a:lnTo>
                  <a:close/>
                  <a:moveTo>
                    <a:pt x="141" y="117"/>
                  </a:moveTo>
                  <a:lnTo>
                    <a:pt x="144" y="115"/>
                  </a:lnTo>
                  <a:lnTo>
                    <a:pt x="151" y="115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41" y="117"/>
                  </a:lnTo>
                  <a:lnTo>
                    <a:pt x="141" y="117"/>
                  </a:lnTo>
                  <a:close/>
                  <a:moveTo>
                    <a:pt x="132" y="168"/>
                  </a:moveTo>
                  <a:lnTo>
                    <a:pt x="130" y="166"/>
                  </a:lnTo>
                  <a:lnTo>
                    <a:pt x="130" y="166"/>
                  </a:lnTo>
                  <a:lnTo>
                    <a:pt x="130" y="156"/>
                  </a:lnTo>
                  <a:lnTo>
                    <a:pt x="139" y="159"/>
                  </a:lnTo>
                  <a:lnTo>
                    <a:pt x="132" y="168"/>
                  </a:lnTo>
                  <a:lnTo>
                    <a:pt x="132" y="168"/>
                  </a:lnTo>
                  <a:lnTo>
                    <a:pt x="132" y="168"/>
                  </a:lnTo>
                  <a:lnTo>
                    <a:pt x="132" y="168"/>
                  </a:lnTo>
                  <a:lnTo>
                    <a:pt x="132" y="16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64" name="Freeform 50">
              <a:extLst>
                <a:ext uri="{FF2B5EF4-FFF2-40B4-BE49-F238E27FC236}">
                  <a16:creationId xmlns:a16="http://schemas.microsoft.com/office/drawing/2014/main" id="{AE998F18-8798-4633-A1B9-42A054D7D6B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269154" y="5280586"/>
              <a:ext cx="409528" cy="403956"/>
            </a:xfrm>
            <a:custGeom>
              <a:avLst/>
              <a:gdLst>
                <a:gd name="T0" fmla="*/ 344 w 441"/>
                <a:gd name="T1" fmla="*/ 412 h 435"/>
                <a:gd name="T2" fmla="*/ 335 w 441"/>
                <a:gd name="T3" fmla="*/ 429 h 435"/>
                <a:gd name="T4" fmla="*/ 295 w 441"/>
                <a:gd name="T5" fmla="*/ 429 h 435"/>
                <a:gd name="T6" fmla="*/ 271 w 441"/>
                <a:gd name="T7" fmla="*/ 435 h 435"/>
                <a:gd name="T8" fmla="*/ 259 w 441"/>
                <a:gd name="T9" fmla="*/ 422 h 435"/>
                <a:gd name="T10" fmla="*/ 222 w 441"/>
                <a:gd name="T11" fmla="*/ 429 h 435"/>
                <a:gd name="T12" fmla="*/ 210 w 441"/>
                <a:gd name="T13" fmla="*/ 398 h 435"/>
                <a:gd name="T14" fmla="*/ 198 w 441"/>
                <a:gd name="T15" fmla="*/ 350 h 435"/>
                <a:gd name="T16" fmla="*/ 179 w 441"/>
                <a:gd name="T17" fmla="*/ 350 h 435"/>
                <a:gd name="T18" fmla="*/ 162 w 441"/>
                <a:gd name="T19" fmla="*/ 348 h 435"/>
                <a:gd name="T20" fmla="*/ 139 w 441"/>
                <a:gd name="T21" fmla="*/ 339 h 435"/>
                <a:gd name="T22" fmla="*/ 122 w 441"/>
                <a:gd name="T23" fmla="*/ 330 h 435"/>
                <a:gd name="T24" fmla="*/ 106 w 441"/>
                <a:gd name="T25" fmla="*/ 320 h 435"/>
                <a:gd name="T26" fmla="*/ 82 w 441"/>
                <a:gd name="T27" fmla="*/ 308 h 435"/>
                <a:gd name="T28" fmla="*/ 58 w 441"/>
                <a:gd name="T29" fmla="*/ 288 h 435"/>
                <a:gd name="T30" fmla="*/ 28 w 441"/>
                <a:gd name="T31" fmla="*/ 237 h 435"/>
                <a:gd name="T32" fmla="*/ 9 w 441"/>
                <a:gd name="T33" fmla="*/ 214 h 435"/>
                <a:gd name="T34" fmla="*/ 9 w 441"/>
                <a:gd name="T35" fmla="*/ 193 h 435"/>
                <a:gd name="T36" fmla="*/ 0 w 441"/>
                <a:gd name="T37" fmla="*/ 140 h 435"/>
                <a:gd name="T38" fmla="*/ 28 w 441"/>
                <a:gd name="T39" fmla="*/ 131 h 435"/>
                <a:gd name="T40" fmla="*/ 40 w 441"/>
                <a:gd name="T41" fmla="*/ 112 h 435"/>
                <a:gd name="T42" fmla="*/ 58 w 441"/>
                <a:gd name="T43" fmla="*/ 90 h 435"/>
                <a:gd name="T44" fmla="*/ 49 w 441"/>
                <a:gd name="T45" fmla="*/ 78 h 435"/>
                <a:gd name="T46" fmla="*/ 45 w 441"/>
                <a:gd name="T47" fmla="*/ 78 h 435"/>
                <a:gd name="T48" fmla="*/ 58 w 441"/>
                <a:gd name="T49" fmla="*/ 56 h 435"/>
                <a:gd name="T50" fmla="*/ 58 w 441"/>
                <a:gd name="T51" fmla="*/ 37 h 435"/>
                <a:gd name="T52" fmla="*/ 52 w 441"/>
                <a:gd name="T53" fmla="*/ 19 h 435"/>
                <a:gd name="T54" fmla="*/ 45 w 441"/>
                <a:gd name="T55" fmla="*/ 0 h 435"/>
                <a:gd name="T56" fmla="*/ 139 w 441"/>
                <a:gd name="T57" fmla="*/ 0 h 435"/>
                <a:gd name="T58" fmla="*/ 325 w 441"/>
                <a:gd name="T59" fmla="*/ 81 h 435"/>
                <a:gd name="T60" fmla="*/ 325 w 441"/>
                <a:gd name="T61" fmla="*/ 100 h 435"/>
                <a:gd name="T62" fmla="*/ 393 w 441"/>
                <a:gd name="T63" fmla="*/ 155 h 435"/>
                <a:gd name="T64" fmla="*/ 386 w 441"/>
                <a:gd name="T65" fmla="*/ 155 h 435"/>
                <a:gd name="T66" fmla="*/ 381 w 441"/>
                <a:gd name="T67" fmla="*/ 217 h 435"/>
                <a:gd name="T68" fmla="*/ 405 w 441"/>
                <a:gd name="T69" fmla="*/ 242 h 435"/>
                <a:gd name="T70" fmla="*/ 393 w 441"/>
                <a:gd name="T71" fmla="*/ 274 h 435"/>
                <a:gd name="T72" fmla="*/ 402 w 441"/>
                <a:gd name="T73" fmla="*/ 279 h 435"/>
                <a:gd name="T74" fmla="*/ 395 w 441"/>
                <a:gd name="T75" fmla="*/ 311 h 435"/>
                <a:gd name="T76" fmla="*/ 395 w 441"/>
                <a:gd name="T77" fmla="*/ 320 h 435"/>
                <a:gd name="T78" fmla="*/ 414 w 441"/>
                <a:gd name="T79" fmla="*/ 367 h 435"/>
                <a:gd name="T80" fmla="*/ 423 w 441"/>
                <a:gd name="T81" fmla="*/ 370 h 435"/>
                <a:gd name="T82" fmla="*/ 432 w 441"/>
                <a:gd name="T83" fmla="*/ 373 h 435"/>
                <a:gd name="T84" fmla="*/ 393 w 441"/>
                <a:gd name="T85" fmla="*/ 412 h 435"/>
                <a:gd name="T86" fmla="*/ 362 w 441"/>
                <a:gd name="T87" fmla="*/ 422 h 435"/>
                <a:gd name="T88" fmla="*/ 362 w 441"/>
                <a:gd name="T89" fmla="*/ 422 h 435"/>
                <a:gd name="T90" fmla="*/ 362 w 441"/>
                <a:gd name="T91" fmla="*/ 422 h 435"/>
                <a:gd name="T92" fmla="*/ 412 w 441"/>
                <a:gd name="T93" fmla="*/ 155 h 435"/>
                <a:gd name="T94" fmla="*/ 414 w 441"/>
                <a:gd name="T95" fmla="*/ 171 h 435"/>
                <a:gd name="T96" fmla="*/ 405 w 441"/>
                <a:gd name="T97" fmla="*/ 180 h 435"/>
                <a:gd name="T98" fmla="*/ 412 w 441"/>
                <a:gd name="T99" fmla="*/ 171 h 435"/>
                <a:gd name="T100" fmla="*/ 412 w 441"/>
                <a:gd name="T101" fmla="*/ 171 h 435"/>
                <a:gd name="T102" fmla="*/ 395 w 441"/>
                <a:gd name="T103" fmla="*/ 203 h 435"/>
                <a:gd name="T104" fmla="*/ 402 w 441"/>
                <a:gd name="T105" fmla="*/ 205 h 435"/>
                <a:gd name="T106" fmla="*/ 405 w 441"/>
                <a:gd name="T107" fmla="*/ 217 h 435"/>
                <a:gd name="T108" fmla="*/ 386 w 441"/>
                <a:gd name="T109" fmla="*/ 212 h 435"/>
                <a:gd name="T110" fmla="*/ 393 w 441"/>
                <a:gd name="T111" fmla="*/ 193 h 435"/>
                <a:gd name="T112" fmla="*/ 395 w 441"/>
                <a:gd name="T113" fmla="*/ 203 h 435"/>
                <a:gd name="T114" fmla="*/ 395 w 441"/>
                <a:gd name="T115" fmla="*/ 203 h 435"/>
                <a:gd name="T116" fmla="*/ 405 w 441"/>
                <a:gd name="T117" fmla="*/ 279 h 435"/>
                <a:gd name="T118" fmla="*/ 417 w 441"/>
                <a:gd name="T119" fmla="*/ 267 h 435"/>
                <a:gd name="T120" fmla="*/ 405 w 441"/>
                <a:gd name="T121" fmla="*/ 279 h 435"/>
                <a:gd name="T122" fmla="*/ 405 w 441"/>
                <a:gd name="T123" fmla="*/ 279 h 435"/>
                <a:gd name="T124" fmla="*/ 405 w 441"/>
                <a:gd name="T125" fmla="*/ 279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41" h="435">
                  <a:moveTo>
                    <a:pt x="362" y="422"/>
                  </a:moveTo>
                  <a:lnTo>
                    <a:pt x="344" y="412"/>
                  </a:lnTo>
                  <a:lnTo>
                    <a:pt x="341" y="419"/>
                  </a:lnTo>
                  <a:lnTo>
                    <a:pt x="335" y="429"/>
                  </a:lnTo>
                  <a:lnTo>
                    <a:pt x="322" y="435"/>
                  </a:lnTo>
                  <a:lnTo>
                    <a:pt x="295" y="429"/>
                  </a:lnTo>
                  <a:lnTo>
                    <a:pt x="282" y="435"/>
                  </a:lnTo>
                  <a:lnTo>
                    <a:pt x="271" y="435"/>
                  </a:lnTo>
                  <a:lnTo>
                    <a:pt x="271" y="429"/>
                  </a:lnTo>
                  <a:lnTo>
                    <a:pt x="259" y="422"/>
                  </a:lnTo>
                  <a:lnTo>
                    <a:pt x="243" y="431"/>
                  </a:lnTo>
                  <a:lnTo>
                    <a:pt x="222" y="429"/>
                  </a:lnTo>
                  <a:lnTo>
                    <a:pt x="210" y="410"/>
                  </a:lnTo>
                  <a:lnTo>
                    <a:pt x="210" y="398"/>
                  </a:lnTo>
                  <a:lnTo>
                    <a:pt x="204" y="367"/>
                  </a:lnTo>
                  <a:lnTo>
                    <a:pt x="198" y="350"/>
                  </a:lnTo>
                  <a:lnTo>
                    <a:pt x="183" y="341"/>
                  </a:lnTo>
                  <a:lnTo>
                    <a:pt x="179" y="350"/>
                  </a:lnTo>
                  <a:lnTo>
                    <a:pt x="174" y="348"/>
                  </a:lnTo>
                  <a:lnTo>
                    <a:pt x="162" y="348"/>
                  </a:lnTo>
                  <a:lnTo>
                    <a:pt x="158" y="341"/>
                  </a:lnTo>
                  <a:lnTo>
                    <a:pt x="139" y="339"/>
                  </a:lnTo>
                  <a:lnTo>
                    <a:pt x="127" y="336"/>
                  </a:lnTo>
                  <a:lnTo>
                    <a:pt x="122" y="330"/>
                  </a:lnTo>
                  <a:lnTo>
                    <a:pt x="106" y="327"/>
                  </a:lnTo>
                  <a:lnTo>
                    <a:pt x="106" y="320"/>
                  </a:lnTo>
                  <a:lnTo>
                    <a:pt x="91" y="320"/>
                  </a:lnTo>
                  <a:lnTo>
                    <a:pt x="82" y="308"/>
                  </a:lnTo>
                  <a:lnTo>
                    <a:pt x="66" y="308"/>
                  </a:lnTo>
                  <a:lnTo>
                    <a:pt x="58" y="288"/>
                  </a:lnTo>
                  <a:lnTo>
                    <a:pt x="40" y="249"/>
                  </a:lnTo>
                  <a:lnTo>
                    <a:pt x="28" y="237"/>
                  </a:lnTo>
                  <a:lnTo>
                    <a:pt x="15" y="226"/>
                  </a:lnTo>
                  <a:lnTo>
                    <a:pt x="9" y="214"/>
                  </a:lnTo>
                  <a:lnTo>
                    <a:pt x="7" y="203"/>
                  </a:lnTo>
                  <a:lnTo>
                    <a:pt x="9" y="193"/>
                  </a:lnTo>
                  <a:lnTo>
                    <a:pt x="0" y="162"/>
                  </a:lnTo>
                  <a:lnTo>
                    <a:pt x="0" y="140"/>
                  </a:lnTo>
                  <a:lnTo>
                    <a:pt x="18" y="140"/>
                  </a:lnTo>
                  <a:lnTo>
                    <a:pt x="28" y="131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5" y="103"/>
                  </a:lnTo>
                  <a:lnTo>
                    <a:pt x="58" y="90"/>
                  </a:lnTo>
                  <a:lnTo>
                    <a:pt x="58" y="81"/>
                  </a:lnTo>
                  <a:lnTo>
                    <a:pt x="49" y="78"/>
                  </a:lnTo>
                  <a:lnTo>
                    <a:pt x="45" y="78"/>
                  </a:lnTo>
                  <a:lnTo>
                    <a:pt x="45" y="78"/>
                  </a:lnTo>
                  <a:lnTo>
                    <a:pt x="49" y="56"/>
                  </a:lnTo>
                  <a:lnTo>
                    <a:pt x="58" y="56"/>
                  </a:lnTo>
                  <a:lnTo>
                    <a:pt x="61" y="41"/>
                  </a:lnTo>
                  <a:lnTo>
                    <a:pt x="58" y="37"/>
                  </a:lnTo>
                  <a:lnTo>
                    <a:pt x="58" y="28"/>
                  </a:lnTo>
                  <a:lnTo>
                    <a:pt x="52" y="19"/>
                  </a:lnTo>
                  <a:lnTo>
                    <a:pt x="49" y="16"/>
                  </a:lnTo>
                  <a:lnTo>
                    <a:pt x="45" y="0"/>
                  </a:lnTo>
                  <a:lnTo>
                    <a:pt x="58" y="0"/>
                  </a:lnTo>
                  <a:lnTo>
                    <a:pt x="139" y="0"/>
                  </a:lnTo>
                  <a:lnTo>
                    <a:pt x="179" y="0"/>
                  </a:lnTo>
                  <a:lnTo>
                    <a:pt x="325" y="81"/>
                  </a:lnTo>
                  <a:lnTo>
                    <a:pt x="332" y="93"/>
                  </a:lnTo>
                  <a:lnTo>
                    <a:pt x="325" y="100"/>
                  </a:lnTo>
                  <a:lnTo>
                    <a:pt x="386" y="149"/>
                  </a:lnTo>
                  <a:lnTo>
                    <a:pt x="393" y="155"/>
                  </a:lnTo>
                  <a:lnTo>
                    <a:pt x="386" y="162"/>
                  </a:lnTo>
                  <a:lnTo>
                    <a:pt x="386" y="155"/>
                  </a:lnTo>
                  <a:lnTo>
                    <a:pt x="374" y="205"/>
                  </a:lnTo>
                  <a:lnTo>
                    <a:pt x="381" y="217"/>
                  </a:lnTo>
                  <a:lnTo>
                    <a:pt x="384" y="224"/>
                  </a:lnTo>
                  <a:lnTo>
                    <a:pt x="405" y="242"/>
                  </a:lnTo>
                  <a:lnTo>
                    <a:pt x="393" y="267"/>
                  </a:lnTo>
                  <a:lnTo>
                    <a:pt x="393" y="274"/>
                  </a:lnTo>
                  <a:lnTo>
                    <a:pt x="402" y="276"/>
                  </a:lnTo>
                  <a:lnTo>
                    <a:pt x="402" y="279"/>
                  </a:lnTo>
                  <a:lnTo>
                    <a:pt x="393" y="295"/>
                  </a:lnTo>
                  <a:lnTo>
                    <a:pt x="395" y="311"/>
                  </a:lnTo>
                  <a:lnTo>
                    <a:pt x="402" y="320"/>
                  </a:lnTo>
                  <a:lnTo>
                    <a:pt x="395" y="320"/>
                  </a:lnTo>
                  <a:lnTo>
                    <a:pt x="405" y="330"/>
                  </a:lnTo>
                  <a:lnTo>
                    <a:pt x="414" y="367"/>
                  </a:lnTo>
                  <a:lnTo>
                    <a:pt x="423" y="373"/>
                  </a:lnTo>
                  <a:lnTo>
                    <a:pt x="423" y="370"/>
                  </a:lnTo>
                  <a:lnTo>
                    <a:pt x="432" y="379"/>
                  </a:lnTo>
                  <a:lnTo>
                    <a:pt x="432" y="373"/>
                  </a:lnTo>
                  <a:lnTo>
                    <a:pt x="441" y="382"/>
                  </a:lnTo>
                  <a:lnTo>
                    <a:pt x="393" y="412"/>
                  </a:lnTo>
                  <a:lnTo>
                    <a:pt x="381" y="412"/>
                  </a:lnTo>
                  <a:lnTo>
                    <a:pt x="362" y="422"/>
                  </a:lnTo>
                  <a:lnTo>
                    <a:pt x="362" y="422"/>
                  </a:lnTo>
                  <a:lnTo>
                    <a:pt x="362" y="422"/>
                  </a:lnTo>
                  <a:lnTo>
                    <a:pt x="362" y="422"/>
                  </a:lnTo>
                  <a:lnTo>
                    <a:pt x="362" y="422"/>
                  </a:lnTo>
                  <a:close/>
                  <a:moveTo>
                    <a:pt x="412" y="171"/>
                  </a:moveTo>
                  <a:lnTo>
                    <a:pt x="412" y="155"/>
                  </a:lnTo>
                  <a:lnTo>
                    <a:pt x="414" y="155"/>
                  </a:lnTo>
                  <a:lnTo>
                    <a:pt x="414" y="171"/>
                  </a:lnTo>
                  <a:lnTo>
                    <a:pt x="412" y="180"/>
                  </a:lnTo>
                  <a:lnTo>
                    <a:pt x="405" y="180"/>
                  </a:lnTo>
                  <a:lnTo>
                    <a:pt x="412" y="171"/>
                  </a:lnTo>
                  <a:lnTo>
                    <a:pt x="412" y="171"/>
                  </a:lnTo>
                  <a:lnTo>
                    <a:pt x="412" y="171"/>
                  </a:lnTo>
                  <a:lnTo>
                    <a:pt x="412" y="171"/>
                  </a:lnTo>
                  <a:lnTo>
                    <a:pt x="412" y="171"/>
                  </a:lnTo>
                  <a:close/>
                  <a:moveTo>
                    <a:pt x="395" y="203"/>
                  </a:moveTo>
                  <a:lnTo>
                    <a:pt x="402" y="212"/>
                  </a:lnTo>
                  <a:lnTo>
                    <a:pt x="402" y="205"/>
                  </a:lnTo>
                  <a:lnTo>
                    <a:pt x="402" y="212"/>
                  </a:lnTo>
                  <a:lnTo>
                    <a:pt x="405" y="217"/>
                  </a:lnTo>
                  <a:lnTo>
                    <a:pt x="402" y="224"/>
                  </a:lnTo>
                  <a:lnTo>
                    <a:pt x="386" y="212"/>
                  </a:lnTo>
                  <a:lnTo>
                    <a:pt x="386" y="203"/>
                  </a:lnTo>
                  <a:lnTo>
                    <a:pt x="393" y="193"/>
                  </a:lnTo>
                  <a:lnTo>
                    <a:pt x="395" y="203"/>
                  </a:lnTo>
                  <a:lnTo>
                    <a:pt x="395" y="203"/>
                  </a:lnTo>
                  <a:lnTo>
                    <a:pt x="395" y="203"/>
                  </a:lnTo>
                  <a:lnTo>
                    <a:pt x="395" y="203"/>
                  </a:lnTo>
                  <a:lnTo>
                    <a:pt x="395" y="203"/>
                  </a:lnTo>
                  <a:close/>
                  <a:moveTo>
                    <a:pt x="405" y="279"/>
                  </a:moveTo>
                  <a:lnTo>
                    <a:pt x="405" y="279"/>
                  </a:lnTo>
                  <a:lnTo>
                    <a:pt x="417" y="267"/>
                  </a:lnTo>
                  <a:lnTo>
                    <a:pt x="414" y="279"/>
                  </a:lnTo>
                  <a:lnTo>
                    <a:pt x="405" y="279"/>
                  </a:lnTo>
                  <a:lnTo>
                    <a:pt x="405" y="279"/>
                  </a:lnTo>
                  <a:lnTo>
                    <a:pt x="405" y="279"/>
                  </a:lnTo>
                  <a:lnTo>
                    <a:pt x="405" y="279"/>
                  </a:lnTo>
                  <a:lnTo>
                    <a:pt x="405" y="279"/>
                  </a:lnTo>
                  <a:close/>
                </a:path>
              </a:pathLst>
            </a:custGeom>
            <a:solidFill>
              <a:srgbClr val="FEC057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65" name="Freeform 51">
              <a:extLst>
                <a:ext uri="{FF2B5EF4-FFF2-40B4-BE49-F238E27FC236}">
                  <a16:creationId xmlns:a16="http://schemas.microsoft.com/office/drawing/2014/main" id="{FA013441-6F6E-49AC-84AA-D12F29DBFCED}"/>
                </a:ext>
              </a:extLst>
            </p:cNvPr>
            <p:cNvSpPr>
              <a:spLocks/>
            </p:cNvSpPr>
            <p:nvPr/>
          </p:nvSpPr>
          <p:spPr bwMode="gray">
            <a:xfrm>
              <a:off x="7278441" y="5084644"/>
              <a:ext cx="196871" cy="210800"/>
            </a:xfrm>
            <a:custGeom>
              <a:avLst/>
              <a:gdLst>
                <a:gd name="T0" fmla="*/ 129 w 212"/>
                <a:gd name="T1" fmla="*/ 208 h 227"/>
                <a:gd name="T2" fmla="*/ 49 w 212"/>
                <a:gd name="T3" fmla="*/ 208 h 227"/>
                <a:gd name="T4" fmla="*/ 37 w 212"/>
                <a:gd name="T5" fmla="*/ 208 h 227"/>
                <a:gd name="T6" fmla="*/ 31 w 212"/>
                <a:gd name="T7" fmla="*/ 208 h 227"/>
                <a:gd name="T8" fmla="*/ 19 w 212"/>
                <a:gd name="T9" fmla="*/ 227 h 227"/>
                <a:gd name="T10" fmla="*/ 9 w 212"/>
                <a:gd name="T11" fmla="*/ 223 h 227"/>
                <a:gd name="T12" fmla="*/ 0 w 212"/>
                <a:gd name="T13" fmla="*/ 223 h 227"/>
                <a:gd name="T14" fmla="*/ 0 w 212"/>
                <a:gd name="T15" fmla="*/ 204 h 227"/>
                <a:gd name="T16" fmla="*/ 7 w 212"/>
                <a:gd name="T17" fmla="*/ 165 h 227"/>
                <a:gd name="T18" fmla="*/ 12 w 212"/>
                <a:gd name="T19" fmla="*/ 146 h 227"/>
                <a:gd name="T20" fmla="*/ 12 w 212"/>
                <a:gd name="T21" fmla="*/ 135 h 227"/>
                <a:gd name="T22" fmla="*/ 22 w 212"/>
                <a:gd name="T23" fmla="*/ 131 h 227"/>
                <a:gd name="T24" fmla="*/ 28 w 212"/>
                <a:gd name="T25" fmla="*/ 121 h 227"/>
                <a:gd name="T26" fmla="*/ 37 w 212"/>
                <a:gd name="T27" fmla="*/ 121 h 227"/>
                <a:gd name="T28" fmla="*/ 70 w 212"/>
                <a:gd name="T29" fmla="*/ 82 h 227"/>
                <a:gd name="T30" fmla="*/ 59 w 212"/>
                <a:gd name="T31" fmla="*/ 73 h 227"/>
                <a:gd name="T32" fmla="*/ 52 w 212"/>
                <a:gd name="T33" fmla="*/ 73 h 227"/>
                <a:gd name="T34" fmla="*/ 42 w 212"/>
                <a:gd name="T35" fmla="*/ 70 h 227"/>
                <a:gd name="T36" fmla="*/ 52 w 212"/>
                <a:gd name="T37" fmla="*/ 55 h 227"/>
                <a:gd name="T38" fmla="*/ 49 w 212"/>
                <a:gd name="T39" fmla="*/ 45 h 227"/>
                <a:gd name="T40" fmla="*/ 52 w 212"/>
                <a:gd name="T41" fmla="*/ 34 h 227"/>
                <a:gd name="T42" fmla="*/ 52 w 212"/>
                <a:gd name="T43" fmla="*/ 30 h 227"/>
                <a:gd name="T44" fmla="*/ 52 w 212"/>
                <a:gd name="T45" fmla="*/ 30 h 227"/>
                <a:gd name="T46" fmla="*/ 59 w 212"/>
                <a:gd name="T47" fmla="*/ 20 h 227"/>
                <a:gd name="T48" fmla="*/ 61 w 212"/>
                <a:gd name="T49" fmla="*/ 15 h 227"/>
                <a:gd name="T50" fmla="*/ 80 w 212"/>
                <a:gd name="T51" fmla="*/ 20 h 227"/>
                <a:gd name="T52" fmla="*/ 88 w 212"/>
                <a:gd name="T53" fmla="*/ 15 h 227"/>
                <a:gd name="T54" fmla="*/ 91 w 212"/>
                <a:gd name="T55" fmla="*/ 24 h 227"/>
                <a:gd name="T56" fmla="*/ 103 w 212"/>
                <a:gd name="T57" fmla="*/ 30 h 227"/>
                <a:gd name="T58" fmla="*/ 103 w 212"/>
                <a:gd name="T59" fmla="*/ 24 h 227"/>
                <a:gd name="T60" fmla="*/ 113 w 212"/>
                <a:gd name="T61" fmla="*/ 20 h 227"/>
                <a:gd name="T62" fmla="*/ 122 w 212"/>
                <a:gd name="T63" fmla="*/ 15 h 227"/>
                <a:gd name="T64" fmla="*/ 133 w 212"/>
                <a:gd name="T65" fmla="*/ 11 h 227"/>
                <a:gd name="T66" fmla="*/ 143 w 212"/>
                <a:gd name="T67" fmla="*/ 15 h 227"/>
                <a:gd name="T68" fmla="*/ 157 w 212"/>
                <a:gd name="T69" fmla="*/ 15 h 227"/>
                <a:gd name="T70" fmla="*/ 172 w 212"/>
                <a:gd name="T71" fmla="*/ 0 h 227"/>
                <a:gd name="T72" fmla="*/ 181 w 212"/>
                <a:gd name="T73" fmla="*/ 15 h 227"/>
                <a:gd name="T74" fmla="*/ 190 w 212"/>
                <a:gd name="T75" fmla="*/ 20 h 227"/>
                <a:gd name="T76" fmla="*/ 190 w 212"/>
                <a:gd name="T77" fmla="*/ 34 h 227"/>
                <a:gd name="T78" fmla="*/ 193 w 212"/>
                <a:gd name="T79" fmla="*/ 52 h 227"/>
                <a:gd name="T80" fmla="*/ 202 w 212"/>
                <a:gd name="T81" fmla="*/ 55 h 227"/>
                <a:gd name="T82" fmla="*/ 209 w 212"/>
                <a:gd name="T83" fmla="*/ 70 h 227"/>
                <a:gd name="T84" fmla="*/ 212 w 212"/>
                <a:gd name="T85" fmla="*/ 91 h 227"/>
                <a:gd name="T86" fmla="*/ 212 w 212"/>
                <a:gd name="T87" fmla="*/ 100 h 227"/>
                <a:gd name="T88" fmla="*/ 202 w 212"/>
                <a:gd name="T89" fmla="*/ 112 h 227"/>
                <a:gd name="T90" fmla="*/ 209 w 212"/>
                <a:gd name="T91" fmla="*/ 116 h 227"/>
                <a:gd name="T92" fmla="*/ 193 w 212"/>
                <a:gd name="T93" fmla="*/ 121 h 227"/>
                <a:gd name="T94" fmla="*/ 190 w 212"/>
                <a:gd name="T95" fmla="*/ 135 h 227"/>
                <a:gd name="T96" fmla="*/ 181 w 212"/>
                <a:gd name="T97" fmla="*/ 144 h 227"/>
                <a:gd name="T98" fmla="*/ 169 w 212"/>
                <a:gd name="T99" fmla="*/ 165 h 227"/>
                <a:gd name="T100" fmla="*/ 172 w 212"/>
                <a:gd name="T101" fmla="*/ 174 h 227"/>
                <a:gd name="T102" fmla="*/ 169 w 212"/>
                <a:gd name="T103" fmla="*/ 208 h 227"/>
                <a:gd name="T104" fmla="*/ 129 w 212"/>
                <a:gd name="T105" fmla="*/ 208 h 227"/>
                <a:gd name="T106" fmla="*/ 129 w 212"/>
                <a:gd name="T107" fmla="*/ 208 h 227"/>
                <a:gd name="T108" fmla="*/ 129 w 212"/>
                <a:gd name="T109" fmla="*/ 208 h 227"/>
                <a:gd name="T110" fmla="*/ 129 w 212"/>
                <a:gd name="T111" fmla="*/ 208 h 227"/>
                <a:gd name="T112" fmla="*/ 129 w 212"/>
                <a:gd name="T113" fmla="*/ 208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12" h="227">
                  <a:moveTo>
                    <a:pt x="129" y="208"/>
                  </a:moveTo>
                  <a:lnTo>
                    <a:pt x="49" y="208"/>
                  </a:lnTo>
                  <a:lnTo>
                    <a:pt x="37" y="208"/>
                  </a:lnTo>
                  <a:lnTo>
                    <a:pt x="31" y="208"/>
                  </a:lnTo>
                  <a:lnTo>
                    <a:pt x="19" y="227"/>
                  </a:lnTo>
                  <a:lnTo>
                    <a:pt x="9" y="223"/>
                  </a:lnTo>
                  <a:lnTo>
                    <a:pt x="0" y="223"/>
                  </a:lnTo>
                  <a:lnTo>
                    <a:pt x="0" y="204"/>
                  </a:lnTo>
                  <a:lnTo>
                    <a:pt x="7" y="165"/>
                  </a:lnTo>
                  <a:lnTo>
                    <a:pt x="12" y="146"/>
                  </a:lnTo>
                  <a:lnTo>
                    <a:pt x="12" y="135"/>
                  </a:lnTo>
                  <a:lnTo>
                    <a:pt x="22" y="131"/>
                  </a:lnTo>
                  <a:lnTo>
                    <a:pt x="28" y="121"/>
                  </a:lnTo>
                  <a:lnTo>
                    <a:pt x="37" y="121"/>
                  </a:lnTo>
                  <a:lnTo>
                    <a:pt x="70" y="82"/>
                  </a:lnTo>
                  <a:lnTo>
                    <a:pt x="59" y="73"/>
                  </a:lnTo>
                  <a:lnTo>
                    <a:pt x="52" y="73"/>
                  </a:lnTo>
                  <a:lnTo>
                    <a:pt x="42" y="70"/>
                  </a:lnTo>
                  <a:lnTo>
                    <a:pt x="52" y="55"/>
                  </a:lnTo>
                  <a:lnTo>
                    <a:pt x="49" y="45"/>
                  </a:lnTo>
                  <a:lnTo>
                    <a:pt x="52" y="34"/>
                  </a:lnTo>
                  <a:lnTo>
                    <a:pt x="52" y="30"/>
                  </a:lnTo>
                  <a:lnTo>
                    <a:pt x="52" y="30"/>
                  </a:lnTo>
                  <a:lnTo>
                    <a:pt x="59" y="20"/>
                  </a:lnTo>
                  <a:lnTo>
                    <a:pt x="61" y="15"/>
                  </a:lnTo>
                  <a:lnTo>
                    <a:pt x="80" y="20"/>
                  </a:lnTo>
                  <a:lnTo>
                    <a:pt x="88" y="15"/>
                  </a:lnTo>
                  <a:lnTo>
                    <a:pt x="91" y="24"/>
                  </a:lnTo>
                  <a:lnTo>
                    <a:pt x="103" y="30"/>
                  </a:lnTo>
                  <a:lnTo>
                    <a:pt x="103" y="24"/>
                  </a:lnTo>
                  <a:lnTo>
                    <a:pt x="113" y="20"/>
                  </a:lnTo>
                  <a:lnTo>
                    <a:pt x="122" y="15"/>
                  </a:lnTo>
                  <a:lnTo>
                    <a:pt x="133" y="11"/>
                  </a:lnTo>
                  <a:lnTo>
                    <a:pt x="143" y="15"/>
                  </a:lnTo>
                  <a:lnTo>
                    <a:pt x="157" y="15"/>
                  </a:lnTo>
                  <a:lnTo>
                    <a:pt x="172" y="0"/>
                  </a:lnTo>
                  <a:lnTo>
                    <a:pt x="181" y="15"/>
                  </a:lnTo>
                  <a:lnTo>
                    <a:pt x="190" y="20"/>
                  </a:lnTo>
                  <a:lnTo>
                    <a:pt x="190" y="34"/>
                  </a:lnTo>
                  <a:lnTo>
                    <a:pt x="193" y="52"/>
                  </a:lnTo>
                  <a:lnTo>
                    <a:pt x="202" y="55"/>
                  </a:lnTo>
                  <a:lnTo>
                    <a:pt x="209" y="70"/>
                  </a:lnTo>
                  <a:lnTo>
                    <a:pt x="212" y="91"/>
                  </a:lnTo>
                  <a:lnTo>
                    <a:pt x="212" y="100"/>
                  </a:lnTo>
                  <a:lnTo>
                    <a:pt x="202" y="112"/>
                  </a:lnTo>
                  <a:lnTo>
                    <a:pt x="209" y="116"/>
                  </a:lnTo>
                  <a:lnTo>
                    <a:pt x="193" y="121"/>
                  </a:lnTo>
                  <a:lnTo>
                    <a:pt x="190" y="135"/>
                  </a:lnTo>
                  <a:lnTo>
                    <a:pt x="181" y="144"/>
                  </a:lnTo>
                  <a:lnTo>
                    <a:pt x="169" y="165"/>
                  </a:lnTo>
                  <a:lnTo>
                    <a:pt x="172" y="174"/>
                  </a:lnTo>
                  <a:lnTo>
                    <a:pt x="169" y="208"/>
                  </a:lnTo>
                  <a:lnTo>
                    <a:pt x="129" y="208"/>
                  </a:lnTo>
                  <a:lnTo>
                    <a:pt x="129" y="208"/>
                  </a:lnTo>
                  <a:lnTo>
                    <a:pt x="129" y="208"/>
                  </a:lnTo>
                  <a:lnTo>
                    <a:pt x="129" y="208"/>
                  </a:lnTo>
                  <a:lnTo>
                    <a:pt x="129" y="208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66" name="Freeform 52">
              <a:extLst>
                <a:ext uri="{FF2B5EF4-FFF2-40B4-BE49-F238E27FC236}">
                  <a16:creationId xmlns:a16="http://schemas.microsoft.com/office/drawing/2014/main" id="{AA56243F-5158-4153-B235-1B12CB35FF2A}"/>
                </a:ext>
              </a:extLst>
            </p:cNvPr>
            <p:cNvSpPr>
              <a:spLocks/>
            </p:cNvSpPr>
            <p:nvPr/>
          </p:nvSpPr>
          <p:spPr bwMode="gray">
            <a:xfrm>
              <a:off x="5996924" y="4672331"/>
              <a:ext cx="290662" cy="215443"/>
            </a:xfrm>
            <a:custGeom>
              <a:avLst/>
              <a:gdLst>
                <a:gd name="T0" fmla="*/ 241 w 313"/>
                <a:gd name="T1" fmla="*/ 170 h 232"/>
                <a:gd name="T2" fmla="*/ 213 w 313"/>
                <a:gd name="T3" fmla="*/ 161 h 232"/>
                <a:gd name="T4" fmla="*/ 192 w 313"/>
                <a:gd name="T5" fmla="*/ 170 h 232"/>
                <a:gd name="T6" fmla="*/ 179 w 313"/>
                <a:gd name="T7" fmla="*/ 164 h 232"/>
                <a:gd name="T8" fmla="*/ 100 w 313"/>
                <a:gd name="T9" fmla="*/ 177 h 232"/>
                <a:gd name="T10" fmla="*/ 109 w 313"/>
                <a:gd name="T11" fmla="*/ 223 h 232"/>
                <a:gd name="T12" fmla="*/ 109 w 313"/>
                <a:gd name="T13" fmla="*/ 232 h 232"/>
                <a:gd name="T14" fmla="*/ 76 w 313"/>
                <a:gd name="T15" fmla="*/ 207 h 232"/>
                <a:gd name="T16" fmla="*/ 48 w 313"/>
                <a:gd name="T17" fmla="*/ 223 h 232"/>
                <a:gd name="T18" fmla="*/ 22 w 313"/>
                <a:gd name="T19" fmla="*/ 207 h 232"/>
                <a:gd name="T20" fmla="*/ 6 w 313"/>
                <a:gd name="T21" fmla="*/ 195 h 232"/>
                <a:gd name="T22" fmla="*/ 6 w 313"/>
                <a:gd name="T23" fmla="*/ 173 h 232"/>
                <a:gd name="T24" fmla="*/ 9 w 313"/>
                <a:gd name="T25" fmla="*/ 161 h 232"/>
                <a:gd name="T26" fmla="*/ 9 w 313"/>
                <a:gd name="T27" fmla="*/ 131 h 232"/>
                <a:gd name="T28" fmla="*/ 36 w 313"/>
                <a:gd name="T29" fmla="*/ 122 h 232"/>
                <a:gd name="T30" fmla="*/ 46 w 313"/>
                <a:gd name="T31" fmla="*/ 101 h 232"/>
                <a:gd name="T32" fmla="*/ 48 w 313"/>
                <a:gd name="T33" fmla="*/ 93 h 232"/>
                <a:gd name="T34" fmla="*/ 48 w 313"/>
                <a:gd name="T35" fmla="*/ 81 h 232"/>
                <a:gd name="T36" fmla="*/ 82 w 313"/>
                <a:gd name="T37" fmla="*/ 78 h 232"/>
                <a:gd name="T38" fmla="*/ 91 w 313"/>
                <a:gd name="T39" fmla="*/ 71 h 232"/>
                <a:gd name="T40" fmla="*/ 107 w 313"/>
                <a:gd name="T41" fmla="*/ 60 h 232"/>
                <a:gd name="T42" fmla="*/ 121 w 313"/>
                <a:gd name="T43" fmla="*/ 30 h 232"/>
                <a:gd name="T44" fmla="*/ 140 w 313"/>
                <a:gd name="T45" fmla="*/ 37 h 232"/>
                <a:gd name="T46" fmla="*/ 152 w 313"/>
                <a:gd name="T47" fmla="*/ 21 h 232"/>
                <a:gd name="T48" fmla="*/ 173 w 313"/>
                <a:gd name="T49" fmla="*/ 9 h 232"/>
                <a:gd name="T50" fmla="*/ 201 w 313"/>
                <a:gd name="T51" fmla="*/ 0 h 232"/>
                <a:gd name="T52" fmla="*/ 210 w 313"/>
                <a:gd name="T53" fmla="*/ 0 h 232"/>
                <a:gd name="T54" fmla="*/ 222 w 313"/>
                <a:gd name="T55" fmla="*/ 21 h 232"/>
                <a:gd name="T56" fmla="*/ 231 w 313"/>
                <a:gd name="T57" fmla="*/ 37 h 232"/>
                <a:gd name="T58" fmla="*/ 258 w 313"/>
                <a:gd name="T59" fmla="*/ 62 h 232"/>
                <a:gd name="T60" fmla="*/ 271 w 313"/>
                <a:gd name="T61" fmla="*/ 71 h 232"/>
                <a:gd name="T62" fmla="*/ 258 w 313"/>
                <a:gd name="T63" fmla="*/ 81 h 232"/>
                <a:gd name="T64" fmla="*/ 300 w 313"/>
                <a:gd name="T65" fmla="*/ 99 h 232"/>
                <a:gd name="T66" fmla="*/ 300 w 313"/>
                <a:gd name="T67" fmla="*/ 111 h 232"/>
                <a:gd name="T68" fmla="*/ 310 w 313"/>
                <a:gd name="T69" fmla="*/ 140 h 232"/>
                <a:gd name="T70" fmla="*/ 283 w 313"/>
                <a:gd name="T71" fmla="*/ 152 h 232"/>
                <a:gd name="T72" fmla="*/ 271 w 313"/>
                <a:gd name="T73" fmla="*/ 152 h 232"/>
                <a:gd name="T74" fmla="*/ 252 w 313"/>
                <a:gd name="T75" fmla="*/ 164 h 232"/>
                <a:gd name="T76" fmla="*/ 252 w 313"/>
                <a:gd name="T77" fmla="*/ 164 h 232"/>
                <a:gd name="T78" fmla="*/ 252 w 313"/>
                <a:gd name="T79" fmla="*/ 164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3" h="232">
                  <a:moveTo>
                    <a:pt x="252" y="164"/>
                  </a:moveTo>
                  <a:lnTo>
                    <a:pt x="241" y="170"/>
                  </a:lnTo>
                  <a:lnTo>
                    <a:pt x="241" y="164"/>
                  </a:lnTo>
                  <a:lnTo>
                    <a:pt x="213" y="161"/>
                  </a:lnTo>
                  <a:lnTo>
                    <a:pt x="204" y="161"/>
                  </a:lnTo>
                  <a:lnTo>
                    <a:pt x="192" y="170"/>
                  </a:lnTo>
                  <a:lnTo>
                    <a:pt x="192" y="164"/>
                  </a:lnTo>
                  <a:lnTo>
                    <a:pt x="179" y="164"/>
                  </a:lnTo>
                  <a:lnTo>
                    <a:pt x="107" y="164"/>
                  </a:lnTo>
                  <a:lnTo>
                    <a:pt x="100" y="177"/>
                  </a:lnTo>
                  <a:lnTo>
                    <a:pt x="109" y="195"/>
                  </a:lnTo>
                  <a:lnTo>
                    <a:pt x="109" y="223"/>
                  </a:lnTo>
                  <a:lnTo>
                    <a:pt x="112" y="226"/>
                  </a:lnTo>
                  <a:lnTo>
                    <a:pt x="109" y="232"/>
                  </a:lnTo>
                  <a:lnTo>
                    <a:pt x="91" y="207"/>
                  </a:lnTo>
                  <a:lnTo>
                    <a:pt x="76" y="207"/>
                  </a:lnTo>
                  <a:lnTo>
                    <a:pt x="51" y="214"/>
                  </a:lnTo>
                  <a:lnTo>
                    <a:pt x="48" y="223"/>
                  </a:lnTo>
                  <a:lnTo>
                    <a:pt x="30" y="217"/>
                  </a:lnTo>
                  <a:lnTo>
                    <a:pt x="22" y="207"/>
                  </a:lnTo>
                  <a:lnTo>
                    <a:pt x="15" y="195"/>
                  </a:lnTo>
                  <a:lnTo>
                    <a:pt x="6" y="195"/>
                  </a:lnTo>
                  <a:lnTo>
                    <a:pt x="0" y="186"/>
                  </a:lnTo>
                  <a:lnTo>
                    <a:pt x="6" y="173"/>
                  </a:lnTo>
                  <a:lnTo>
                    <a:pt x="0" y="164"/>
                  </a:lnTo>
                  <a:lnTo>
                    <a:pt x="9" y="161"/>
                  </a:lnTo>
                  <a:lnTo>
                    <a:pt x="15" y="145"/>
                  </a:lnTo>
                  <a:lnTo>
                    <a:pt x="9" y="131"/>
                  </a:lnTo>
                  <a:lnTo>
                    <a:pt x="15" y="124"/>
                  </a:lnTo>
                  <a:lnTo>
                    <a:pt x="36" y="122"/>
                  </a:lnTo>
                  <a:lnTo>
                    <a:pt x="46" y="111"/>
                  </a:lnTo>
                  <a:lnTo>
                    <a:pt x="46" y="101"/>
                  </a:lnTo>
                  <a:lnTo>
                    <a:pt x="39" y="93"/>
                  </a:lnTo>
                  <a:lnTo>
                    <a:pt x="48" y="93"/>
                  </a:lnTo>
                  <a:lnTo>
                    <a:pt x="51" y="90"/>
                  </a:lnTo>
                  <a:lnTo>
                    <a:pt x="48" y="81"/>
                  </a:lnTo>
                  <a:lnTo>
                    <a:pt x="60" y="62"/>
                  </a:lnTo>
                  <a:lnTo>
                    <a:pt x="82" y="78"/>
                  </a:lnTo>
                  <a:lnTo>
                    <a:pt x="82" y="71"/>
                  </a:lnTo>
                  <a:lnTo>
                    <a:pt x="91" y="71"/>
                  </a:lnTo>
                  <a:lnTo>
                    <a:pt x="88" y="53"/>
                  </a:lnTo>
                  <a:lnTo>
                    <a:pt x="107" y="60"/>
                  </a:lnTo>
                  <a:lnTo>
                    <a:pt x="107" y="39"/>
                  </a:lnTo>
                  <a:lnTo>
                    <a:pt x="121" y="30"/>
                  </a:lnTo>
                  <a:lnTo>
                    <a:pt x="137" y="37"/>
                  </a:lnTo>
                  <a:lnTo>
                    <a:pt x="140" y="37"/>
                  </a:lnTo>
                  <a:lnTo>
                    <a:pt x="140" y="21"/>
                  </a:lnTo>
                  <a:lnTo>
                    <a:pt x="152" y="21"/>
                  </a:lnTo>
                  <a:lnTo>
                    <a:pt x="168" y="16"/>
                  </a:lnTo>
                  <a:lnTo>
                    <a:pt x="173" y="9"/>
                  </a:lnTo>
                  <a:lnTo>
                    <a:pt x="189" y="0"/>
                  </a:lnTo>
                  <a:lnTo>
                    <a:pt x="201" y="0"/>
                  </a:lnTo>
                  <a:lnTo>
                    <a:pt x="204" y="0"/>
                  </a:lnTo>
                  <a:lnTo>
                    <a:pt x="210" y="0"/>
                  </a:lnTo>
                  <a:lnTo>
                    <a:pt x="227" y="6"/>
                  </a:lnTo>
                  <a:lnTo>
                    <a:pt x="222" y="21"/>
                  </a:lnTo>
                  <a:lnTo>
                    <a:pt x="234" y="30"/>
                  </a:lnTo>
                  <a:lnTo>
                    <a:pt x="231" y="37"/>
                  </a:lnTo>
                  <a:lnTo>
                    <a:pt x="241" y="53"/>
                  </a:lnTo>
                  <a:lnTo>
                    <a:pt x="258" y="62"/>
                  </a:lnTo>
                  <a:lnTo>
                    <a:pt x="258" y="62"/>
                  </a:lnTo>
                  <a:lnTo>
                    <a:pt x="271" y="71"/>
                  </a:lnTo>
                  <a:lnTo>
                    <a:pt x="258" y="68"/>
                  </a:lnTo>
                  <a:lnTo>
                    <a:pt x="258" y="81"/>
                  </a:lnTo>
                  <a:lnTo>
                    <a:pt x="279" y="99"/>
                  </a:lnTo>
                  <a:lnTo>
                    <a:pt x="300" y="99"/>
                  </a:lnTo>
                  <a:lnTo>
                    <a:pt x="304" y="108"/>
                  </a:lnTo>
                  <a:lnTo>
                    <a:pt x="300" y="111"/>
                  </a:lnTo>
                  <a:lnTo>
                    <a:pt x="313" y="131"/>
                  </a:lnTo>
                  <a:lnTo>
                    <a:pt x="310" y="140"/>
                  </a:lnTo>
                  <a:lnTo>
                    <a:pt x="295" y="145"/>
                  </a:lnTo>
                  <a:lnTo>
                    <a:pt x="283" y="152"/>
                  </a:lnTo>
                  <a:lnTo>
                    <a:pt x="274" y="145"/>
                  </a:lnTo>
                  <a:lnTo>
                    <a:pt x="271" y="152"/>
                  </a:lnTo>
                  <a:lnTo>
                    <a:pt x="265" y="155"/>
                  </a:lnTo>
                  <a:lnTo>
                    <a:pt x="252" y="164"/>
                  </a:lnTo>
                  <a:lnTo>
                    <a:pt x="252" y="164"/>
                  </a:lnTo>
                  <a:lnTo>
                    <a:pt x="252" y="164"/>
                  </a:lnTo>
                  <a:lnTo>
                    <a:pt x="252" y="164"/>
                  </a:lnTo>
                  <a:lnTo>
                    <a:pt x="252" y="16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67" name="Freeform 53">
              <a:extLst>
                <a:ext uri="{FF2B5EF4-FFF2-40B4-BE49-F238E27FC236}">
                  <a16:creationId xmlns:a16="http://schemas.microsoft.com/office/drawing/2014/main" id="{3613D19D-E4A1-4D70-A68B-C3B1C980D443}"/>
                </a:ext>
              </a:extLst>
            </p:cNvPr>
            <p:cNvSpPr>
              <a:spLocks/>
            </p:cNvSpPr>
            <p:nvPr/>
          </p:nvSpPr>
          <p:spPr bwMode="gray">
            <a:xfrm>
              <a:off x="6629325" y="5883270"/>
              <a:ext cx="489390" cy="472675"/>
            </a:xfrm>
            <a:custGeom>
              <a:avLst/>
              <a:gdLst>
                <a:gd name="T0" fmla="*/ 12 w 527"/>
                <a:gd name="T1" fmla="*/ 10 h 509"/>
                <a:gd name="T2" fmla="*/ 54 w 527"/>
                <a:gd name="T3" fmla="*/ 0 h 509"/>
                <a:gd name="T4" fmla="*/ 85 w 527"/>
                <a:gd name="T5" fmla="*/ 22 h 509"/>
                <a:gd name="T6" fmla="*/ 265 w 527"/>
                <a:gd name="T7" fmla="*/ 31 h 509"/>
                <a:gd name="T8" fmla="*/ 334 w 527"/>
                <a:gd name="T9" fmla="*/ 40 h 509"/>
                <a:gd name="T10" fmla="*/ 355 w 527"/>
                <a:gd name="T11" fmla="*/ 43 h 509"/>
                <a:gd name="T12" fmla="*/ 374 w 527"/>
                <a:gd name="T13" fmla="*/ 43 h 509"/>
                <a:gd name="T14" fmla="*/ 485 w 527"/>
                <a:gd name="T15" fmla="*/ 22 h 509"/>
                <a:gd name="T16" fmla="*/ 515 w 527"/>
                <a:gd name="T17" fmla="*/ 28 h 509"/>
                <a:gd name="T18" fmla="*/ 513 w 527"/>
                <a:gd name="T19" fmla="*/ 33 h 509"/>
                <a:gd name="T20" fmla="*/ 491 w 527"/>
                <a:gd name="T21" fmla="*/ 43 h 509"/>
                <a:gd name="T22" fmla="*/ 452 w 527"/>
                <a:gd name="T23" fmla="*/ 43 h 509"/>
                <a:gd name="T24" fmla="*/ 362 w 527"/>
                <a:gd name="T25" fmla="*/ 214 h 509"/>
                <a:gd name="T26" fmla="*/ 322 w 527"/>
                <a:gd name="T27" fmla="*/ 328 h 509"/>
                <a:gd name="T28" fmla="*/ 304 w 527"/>
                <a:gd name="T29" fmla="*/ 493 h 509"/>
                <a:gd name="T30" fmla="*/ 292 w 527"/>
                <a:gd name="T31" fmla="*/ 502 h 509"/>
                <a:gd name="T32" fmla="*/ 287 w 527"/>
                <a:gd name="T33" fmla="*/ 509 h 509"/>
                <a:gd name="T34" fmla="*/ 247 w 527"/>
                <a:gd name="T35" fmla="*/ 509 h 509"/>
                <a:gd name="T36" fmla="*/ 226 w 527"/>
                <a:gd name="T37" fmla="*/ 505 h 509"/>
                <a:gd name="T38" fmla="*/ 217 w 527"/>
                <a:gd name="T39" fmla="*/ 502 h 509"/>
                <a:gd name="T40" fmla="*/ 214 w 527"/>
                <a:gd name="T41" fmla="*/ 477 h 509"/>
                <a:gd name="T42" fmla="*/ 195 w 527"/>
                <a:gd name="T43" fmla="*/ 474 h 509"/>
                <a:gd name="T44" fmla="*/ 184 w 527"/>
                <a:gd name="T45" fmla="*/ 496 h 509"/>
                <a:gd name="T46" fmla="*/ 154 w 527"/>
                <a:gd name="T47" fmla="*/ 470 h 509"/>
                <a:gd name="T48" fmla="*/ 132 w 527"/>
                <a:gd name="T49" fmla="*/ 425 h 509"/>
                <a:gd name="T50" fmla="*/ 132 w 527"/>
                <a:gd name="T51" fmla="*/ 408 h 509"/>
                <a:gd name="T52" fmla="*/ 123 w 527"/>
                <a:gd name="T53" fmla="*/ 399 h 509"/>
                <a:gd name="T54" fmla="*/ 121 w 527"/>
                <a:gd name="T55" fmla="*/ 371 h 509"/>
                <a:gd name="T56" fmla="*/ 101 w 527"/>
                <a:gd name="T57" fmla="*/ 300 h 509"/>
                <a:gd name="T58" fmla="*/ 114 w 527"/>
                <a:gd name="T59" fmla="*/ 261 h 509"/>
                <a:gd name="T60" fmla="*/ 106 w 527"/>
                <a:gd name="T61" fmla="*/ 238 h 509"/>
                <a:gd name="T62" fmla="*/ 85 w 527"/>
                <a:gd name="T63" fmla="*/ 205 h 509"/>
                <a:gd name="T64" fmla="*/ 63 w 527"/>
                <a:gd name="T65" fmla="*/ 164 h 509"/>
                <a:gd name="T66" fmla="*/ 24 w 527"/>
                <a:gd name="T67" fmla="*/ 84 h 509"/>
                <a:gd name="T68" fmla="*/ 0 w 527"/>
                <a:gd name="T69" fmla="*/ 50 h 509"/>
                <a:gd name="T70" fmla="*/ 0 w 527"/>
                <a:gd name="T71" fmla="*/ 13 h 509"/>
                <a:gd name="T72" fmla="*/ 0 w 527"/>
                <a:gd name="T73" fmla="*/ 13 h 509"/>
                <a:gd name="T74" fmla="*/ 0 w 527"/>
                <a:gd name="T75" fmla="*/ 13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27" h="509">
                  <a:moveTo>
                    <a:pt x="0" y="13"/>
                  </a:moveTo>
                  <a:lnTo>
                    <a:pt x="12" y="10"/>
                  </a:lnTo>
                  <a:lnTo>
                    <a:pt x="29" y="13"/>
                  </a:lnTo>
                  <a:lnTo>
                    <a:pt x="54" y="0"/>
                  </a:lnTo>
                  <a:lnTo>
                    <a:pt x="66" y="3"/>
                  </a:lnTo>
                  <a:lnTo>
                    <a:pt x="85" y="22"/>
                  </a:lnTo>
                  <a:lnTo>
                    <a:pt x="261" y="19"/>
                  </a:lnTo>
                  <a:lnTo>
                    <a:pt x="265" y="31"/>
                  </a:lnTo>
                  <a:lnTo>
                    <a:pt x="278" y="33"/>
                  </a:lnTo>
                  <a:lnTo>
                    <a:pt x="334" y="40"/>
                  </a:lnTo>
                  <a:lnTo>
                    <a:pt x="344" y="43"/>
                  </a:lnTo>
                  <a:lnTo>
                    <a:pt x="355" y="43"/>
                  </a:lnTo>
                  <a:lnTo>
                    <a:pt x="365" y="40"/>
                  </a:lnTo>
                  <a:lnTo>
                    <a:pt x="374" y="43"/>
                  </a:lnTo>
                  <a:lnTo>
                    <a:pt x="455" y="31"/>
                  </a:lnTo>
                  <a:lnTo>
                    <a:pt x="485" y="22"/>
                  </a:lnTo>
                  <a:lnTo>
                    <a:pt x="504" y="22"/>
                  </a:lnTo>
                  <a:lnTo>
                    <a:pt x="515" y="28"/>
                  </a:lnTo>
                  <a:lnTo>
                    <a:pt x="527" y="33"/>
                  </a:lnTo>
                  <a:lnTo>
                    <a:pt x="513" y="33"/>
                  </a:lnTo>
                  <a:lnTo>
                    <a:pt x="497" y="50"/>
                  </a:lnTo>
                  <a:lnTo>
                    <a:pt x="491" y="43"/>
                  </a:lnTo>
                  <a:lnTo>
                    <a:pt x="464" y="65"/>
                  </a:lnTo>
                  <a:lnTo>
                    <a:pt x="452" y="43"/>
                  </a:lnTo>
                  <a:lnTo>
                    <a:pt x="362" y="58"/>
                  </a:lnTo>
                  <a:lnTo>
                    <a:pt x="362" y="214"/>
                  </a:lnTo>
                  <a:lnTo>
                    <a:pt x="322" y="214"/>
                  </a:lnTo>
                  <a:lnTo>
                    <a:pt x="322" y="328"/>
                  </a:lnTo>
                  <a:lnTo>
                    <a:pt x="322" y="487"/>
                  </a:lnTo>
                  <a:lnTo>
                    <a:pt x="304" y="493"/>
                  </a:lnTo>
                  <a:lnTo>
                    <a:pt x="301" y="502"/>
                  </a:lnTo>
                  <a:lnTo>
                    <a:pt x="292" y="502"/>
                  </a:lnTo>
                  <a:lnTo>
                    <a:pt x="292" y="509"/>
                  </a:lnTo>
                  <a:lnTo>
                    <a:pt x="287" y="509"/>
                  </a:lnTo>
                  <a:lnTo>
                    <a:pt x="271" y="505"/>
                  </a:lnTo>
                  <a:lnTo>
                    <a:pt x="247" y="509"/>
                  </a:lnTo>
                  <a:lnTo>
                    <a:pt x="241" y="505"/>
                  </a:lnTo>
                  <a:lnTo>
                    <a:pt x="226" y="505"/>
                  </a:lnTo>
                  <a:lnTo>
                    <a:pt x="226" y="502"/>
                  </a:lnTo>
                  <a:lnTo>
                    <a:pt x="217" y="502"/>
                  </a:lnTo>
                  <a:lnTo>
                    <a:pt x="217" y="477"/>
                  </a:lnTo>
                  <a:lnTo>
                    <a:pt x="214" y="477"/>
                  </a:lnTo>
                  <a:lnTo>
                    <a:pt x="205" y="470"/>
                  </a:lnTo>
                  <a:lnTo>
                    <a:pt x="195" y="474"/>
                  </a:lnTo>
                  <a:lnTo>
                    <a:pt x="193" y="493"/>
                  </a:lnTo>
                  <a:lnTo>
                    <a:pt x="184" y="496"/>
                  </a:lnTo>
                  <a:lnTo>
                    <a:pt x="181" y="493"/>
                  </a:lnTo>
                  <a:lnTo>
                    <a:pt x="154" y="470"/>
                  </a:lnTo>
                  <a:lnTo>
                    <a:pt x="135" y="440"/>
                  </a:lnTo>
                  <a:lnTo>
                    <a:pt x="132" y="425"/>
                  </a:lnTo>
                  <a:lnTo>
                    <a:pt x="127" y="412"/>
                  </a:lnTo>
                  <a:lnTo>
                    <a:pt x="132" y="408"/>
                  </a:lnTo>
                  <a:lnTo>
                    <a:pt x="127" y="399"/>
                  </a:lnTo>
                  <a:lnTo>
                    <a:pt x="123" y="399"/>
                  </a:lnTo>
                  <a:lnTo>
                    <a:pt x="123" y="385"/>
                  </a:lnTo>
                  <a:lnTo>
                    <a:pt x="121" y="371"/>
                  </a:lnTo>
                  <a:lnTo>
                    <a:pt x="121" y="341"/>
                  </a:lnTo>
                  <a:lnTo>
                    <a:pt x="101" y="300"/>
                  </a:lnTo>
                  <a:lnTo>
                    <a:pt x="101" y="261"/>
                  </a:lnTo>
                  <a:lnTo>
                    <a:pt x="114" y="261"/>
                  </a:lnTo>
                  <a:lnTo>
                    <a:pt x="111" y="238"/>
                  </a:lnTo>
                  <a:lnTo>
                    <a:pt x="106" y="238"/>
                  </a:lnTo>
                  <a:lnTo>
                    <a:pt x="101" y="226"/>
                  </a:lnTo>
                  <a:lnTo>
                    <a:pt x="85" y="205"/>
                  </a:lnTo>
                  <a:lnTo>
                    <a:pt x="81" y="192"/>
                  </a:lnTo>
                  <a:lnTo>
                    <a:pt x="63" y="164"/>
                  </a:lnTo>
                  <a:lnTo>
                    <a:pt x="54" y="137"/>
                  </a:lnTo>
                  <a:lnTo>
                    <a:pt x="24" y="84"/>
                  </a:lnTo>
                  <a:lnTo>
                    <a:pt x="5" y="61"/>
                  </a:lnTo>
                  <a:lnTo>
                    <a:pt x="0" y="50"/>
                  </a:lnTo>
                  <a:lnTo>
                    <a:pt x="0" y="28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FEC057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68" name="Freeform 54">
              <a:extLst>
                <a:ext uri="{FF2B5EF4-FFF2-40B4-BE49-F238E27FC236}">
                  <a16:creationId xmlns:a16="http://schemas.microsoft.com/office/drawing/2014/main" id="{F8B6090A-57D0-4B1D-B814-D7F6F69D3EA6}"/>
                </a:ext>
              </a:extLst>
            </p:cNvPr>
            <p:cNvSpPr>
              <a:spLocks/>
            </p:cNvSpPr>
            <p:nvPr/>
          </p:nvSpPr>
          <p:spPr bwMode="gray">
            <a:xfrm>
              <a:off x="5576253" y="4178297"/>
              <a:ext cx="307378" cy="273947"/>
            </a:xfrm>
            <a:custGeom>
              <a:avLst/>
              <a:gdLst>
                <a:gd name="T0" fmla="*/ 109 w 331"/>
                <a:gd name="T1" fmla="*/ 274 h 295"/>
                <a:gd name="T2" fmla="*/ 6 w 331"/>
                <a:gd name="T3" fmla="*/ 274 h 295"/>
                <a:gd name="T4" fmla="*/ 0 w 331"/>
                <a:gd name="T5" fmla="*/ 295 h 295"/>
                <a:gd name="T6" fmla="*/ 0 w 331"/>
                <a:gd name="T7" fmla="*/ 286 h 295"/>
                <a:gd name="T8" fmla="*/ 6 w 331"/>
                <a:gd name="T9" fmla="*/ 245 h 295"/>
                <a:gd name="T10" fmla="*/ 15 w 331"/>
                <a:gd name="T11" fmla="*/ 232 h 295"/>
                <a:gd name="T12" fmla="*/ 21 w 331"/>
                <a:gd name="T13" fmla="*/ 230 h 295"/>
                <a:gd name="T14" fmla="*/ 39 w 331"/>
                <a:gd name="T15" fmla="*/ 189 h 295"/>
                <a:gd name="T16" fmla="*/ 51 w 331"/>
                <a:gd name="T17" fmla="*/ 166 h 295"/>
                <a:gd name="T18" fmla="*/ 51 w 331"/>
                <a:gd name="T19" fmla="*/ 161 h 295"/>
                <a:gd name="T20" fmla="*/ 39 w 331"/>
                <a:gd name="T21" fmla="*/ 170 h 295"/>
                <a:gd name="T22" fmla="*/ 88 w 331"/>
                <a:gd name="T23" fmla="*/ 129 h 295"/>
                <a:gd name="T24" fmla="*/ 91 w 331"/>
                <a:gd name="T25" fmla="*/ 95 h 295"/>
                <a:gd name="T26" fmla="*/ 100 w 331"/>
                <a:gd name="T27" fmla="*/ 76 h 295"/>
                <a:gd name="T28" fmla="*/ 100 w 331"/>
                <a:gd name="T29" fmla="*/ 64 h 295"/>
                <a:gd name="T30" fmla="*/ 139 w 331"/>
                <a:gd name="T31" fmla="*/ 41 h 295"/>
                <a:gd name="T32" fmla="*/ 152 w 331"/>
                <a:gd name="T33" fmla="*/ 0 h 295"/>
                <a:gd name="T34" fmla="*/ 331 w 331"/>
                <a:gd name="T35" fmla="*/ 0 h 295"/>
                <a:gd name="T36" fmla="*/ 331 w 331"/>
                <a:gd name="T37" fmla="*/ 14 h 295"/>
                <a:gd name="T38" fmla="*/ 331 w 331"/>
                <a:gd name="T39" fmla="*/ 73 h 295"/>
                <a:gd name="T40" fmla="*/ 200 w 331"/>
                <a:gd name="T41" fmla="*/ 73 h 295"/>
                <a:gd name="T42" fmla="*/ 200 w 331"/>
                <a:gd name="T43" fmla="*/ 182 h 295"/>
                <a:gd name="T44" fmla="*/ 179 w 331"/>
                <a:gd name="T45" fmla="*/ 189 h 295"/>
                <a:gd name="T46" fmla="*/ 158 w 331"/>
                <a:gd name="T47" fmla="*/ 205 h 295"/>
                <a:gd name="T48" fmla="*/ 160 w 331"/>
                <a:gd name="T49" fmla="*/ 274 h 295"/>
                <a:gd name="T50" fmla="*/ 109 w 331"/>
                <a:gd name="T51" fmla="*/ 274 h 295"/>
                <a:gd name="T52" fmla="*/ 109 w 331"/>
                <a:gd name="T53" fmla="*/ 274 h 295"/>
                <a:gd name="T54" fmla="*/ 109 w 331"/>
                <a:gd name="T55" fmla="*/ 274 h 295"/>
                <a:gd name="T56" fmla="*/ 109 w 331"/>
                <a:gd name="T57" fmla="*/ 274 h 295"/>
                <a:gd name="T58" fmla="*/ 109 w 331"/>
                <a:gd name="T59" fmla="*/ 27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31" h="295">
                  <a:moveTo>
                    <a:pt x="109" y="274"/>
                  </a:moveTo>
                  <a:lnTo>
                    <a:pt x="6" y="274"/>
                  </a:lnTo>
                  <a:lnTo>
                    <a:pt x="0" y="295"/>
                  </a:lnTo>
                  <a:lnTo>
                    <a:pt x="0" y="286"/>
                  </a:lnTo>
                  <a:lnTo>
                    <a:pt x="6" y="245"/>
                  </a:lnTo>
                  <a:lnTo>
                    <a:pt x="15" y="232"/>
                  </a:lnTo>
                  <a:lnTo>
                    <a:pt x="21" y="230"/>
                  </a:lnTo>
                  <a:lnTo>
                    <a:pt x="39" y="189"/>
                  </a:lnTo>
                  <a:lnTo>
                    <a:pt x="51" y="166"/>
                  </a:lnTo>
                  <a:lnTo>
                    <a:pt x="51" y="161"/>
                  </a:lnTo>
                  <a:lnTo>
                    <a:pt x="39" y="170"/>
                  </a:lnTo>
                  <a:lnTo>
                    <a:pt x="88" y="129"/>
                  </a:lnTo>
                  <a:lnTo>
                    <a:pt x="91" y="95"/>
                  </a:lnTo>
                  <a:lnTo>
                    <a:pt x="100" y="76"/>
                  </a:lnTo>
                  <a:lnTo>
                    <a:pt x="100" y="64"/>
                  </a:lnTo>
                  <a:lnTo>
                    <a:pt x="139" y="41"/>
                  </a:lnTo>
                  <a:lnTo>
                    <a:pt x="152" y="0"/>
                  </a:lnTo>
                  <a:lnTo>
                    <a:pt x="331" y="0"/>
                  </a:lnTo>
                  <a:lnTo>
                    <a:pt x="331" y="14"/>
                  </a:lnTo>
                  <a:lnTo>
                    <a:pt x="331" y="73"/>
                  </a:lnTo>
                  <a:lnTo>
                    <a:pt x="200" y="73"/>
                  </a:lnTo>
                  <a:lnTo>
                    <a:pt x="200" y="182"/>
                  </a:lnTo>
                  <a:lnTo>
                    <a:pt x="179" y="189"/>
                  </a:lnTo>
                  <a:lnTo>
                    <a:pt x="158" y="205"/>
                  </a:lnTo>
                  <a:lnTo>
                    <a:pt x="160" y="274"/>
                  </a:lnTo>
                  <a:lnTo>
                    <a:pt x="109" y="274"/>
                  </a:lnTo>
                  <a:lnTo>
                    <a:pt x="109" y="274"/>
                  </a:lnTo>
                  <a:lnTo>
                    <a:pt x="109" y="274"/>
                  </a:lnTo>
                  <a:lnTo>
                    <a:pt x="109" y="274"/>
                  </a:lnTo>
                  <a:lnTo>
                    <a:pt x="109" y="274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69" name="Freeform 55">
              <a:extLst>
                <a:ext uri="{FF2B5EF4-FFF2-40B4-BE49-F238E27FC236}">
                  <a16:creationId xmlns:a16="http://schemas.microsoft.com/office/drawing/2014/main" id="{E0E2ADB0-CB4A-41E9-A2B9-C4A1BCF6154E}"/>
                </a:ext>
              </a:extLst>
            </p:cNvPr>
            <p:cNvSpPr>
              <a:spLocks/>
            </p:cNvSpPr>
            <p:nvPr/>
          </p:nvSpPr>
          <p:spPr bwMode="gray">
            <a:xfrm>
              <a:off x="7322087" y="6227793"/>
              <a:ext cx="48289" cy="63147"/>
            </a:xfrm>
            <a:custGeom>
              <a:avLst/>
              <a:gdLst>
                <a:gd name="T0" fmla="*/ 3 w 52"/>
                <a:gd name="T1" fmla="*/ 42 h 68"/>
                <a:gd name="T2" fmla="*/ 0 w 52"/>
                <a:gd name="T3" fmla="*/ 42 h 68"/>
                <a:gd name="T4" fmla="*/ 0 w 52"/>
                <a:gd name="T5" fmla="*/ 28 h 68"/>
                <a:gd name="T6" fmla="*/ 12 w 52"/>
                <a:gd name="T7" fmla="*/ 9 h 68"/>
                <a:gd name="T8" fmla="*/ 21 w 52"/>
                <a:gd name="T9" fmla="*/ 0 h 68"/>
                <a:gd name="T10" fmla="*/ 25 w 52"/>
                <a:gd name="T11" fmla="*/ 0 h 68"/>
                <a:gd name="T12" fmla="*/ 43 w 52"/>
                <a:gd name="T13" fmla="*/ 9 h 68"/>
                <a:gd name="T14" fmla="*/ 50 w 52"/>
                <a:gd name="T15" fmla="*/ 9 h 68"/>
                <a:gd name="T16" fmla="*/ 52 w 52"/>
                <a:gd name="T17" fmla="*/ 18 h 68"/>
                <a:gd name="T18" fmla="*/ 52 w 52"/>
                <a:gd name="T19" fmla="*/ 48 h 68"/>
                <a:gd name="T20" fmla="*/ 50 w 52"/>
                <a:gd name="T21" fmla="*/ 42 h 68"/>
                <a:gd name="T22" fmla="*/ 50 w 52"/>
                <a:gd name="T23" fmla="*/ 68 h 68"/>
                <a:gd name="T24" fmla="*/ 30 w 52"/>
                <a:gd name="T25" fmla="*/ 68 h 68"/>
                <a:gd name="T26" fmla="*/ 12 w 52"/>
                <a:gd name="T27" fmla="*/ 61 h 68"/>
                <a:gd name="T28" fmla="*/ 3 w 52"/>
                <a:gd name="T29" fmla="*/ 42 h 68"/>
                <a:gd name="T30" fmla="*/ 3 w 52"/>
                <a:gd name="T31" fmla="*/ 42 h 68"/>
                <a:gd name="T32" fmla="*/ 3 w 52"/>
                <a:gd name="T33" fmla="*/ 42 h 68"/>
                <a:gd name="T34" fmla="*/ 3 w 52"/>
                <a:gd name="T35" fmla="*/ 42 h 68"/>
                <a:gd name="T36" fmla="*/ 3 w 52"/>
                <a:gd name="T37" fmla="*/ 42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2" h="68">
                  <a:moveTo>
                    <a:pt x="3" y="42"/>
                  </a:moveTo>
                  <a:lnTo>
                    <a:pt x="0" y="42"/>
                  </a:lnTo>
                  <a:lnTo>
                    <a:pt x="0" y="28"/>
                  </a:lnTo>
                  <a:lnTo>
                    <a:pt x="12" y="9"/>
                  </a:lnTo>
                  <a:lnTo>
                    <a:pt x="21" y="0"/>
                  </a:lnTo>
                  <a:lnTo>
                    <a:pt x="25" y="0"/>
                  </a:lnTo>
                  <a:lnTo>
                    <a:pt x="43" y="9"/>
                  </a:lnTo>
                  <a:lnTo>
                    <a:pt x="50" y="9"/>
                  </a:lnTo>
                  <a:lnTo>
                    <a:pt x="52" y="18"/>
                  </a:lnTo>
                  <a:lnTo>
                    <a:pt x="52" y="48"/>
                  </a:lnTo>
                  <a:lnTo>
                    <a:pt x="50" y="42"/>
                  </a:lnTo>
                  <a:lnTo>
                    <a:pt x="50" y="68"/>
                  </a:lnTo>
                  <a:lnTo>
                    <a:pt x="30" y="68"/>
                  </a:lnTo>
                  <a:lnTo>
                    <a:pt x="12" y="61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42"/>
                  </a:lnTo>
                  <a:close/>
                </a:path>
              </a:pathLst>
            </a:custGeom>
            <a:solidFill>
              <a:srgbClr val="FEC057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70" name="Freeform 56">
              <a:extLst>
                <a:ext uri="{FF2B5EF4-FFF2-40B4-BE49-F238E27FC236}">
                  <a16:creationId xmlns:a16="http://schemas.microsoft.com/office/drawing/2014/main" id="{4887B822-9371-4030-B7E0-7B5C0D7A51D8}"/>
                </a:ext>
              </a:extLst>
            </p:cNvPr>
            <p:cNvSpPr>
              <a:spLocks/>
            </p:cNvSpPr>
            <p:nvPr/>
          </p:nvSpPr>
          <p:spPr bwMode="gray">
            <a:xfrm>
              <a:off x="7005422" y="5547104"/>
              <a:ext cx="423457" cy="379811"/>
            </a:xfrm>
            <a:custGeom>
              <a:avLst/>
              <a:gdLst>
                <a:gd name="T0" fmla="*/ 332 w 456"/>
                <a:gd name="T1" fmla="*/ 307 h 409"/>
                <a:gd name="T2" fmla="*/ 272 w 456"/>
                <a:gd name="T3" fmla="*/ 320 h 409"/>
                <a:gd name="T4" fmla="*/ 226 w 456"/>
                <a:gd name="T5" fmla="*/ 359 h 409"/>
                <a:gd name="T6" fmla="*/ 196 w 456"/>
                <a:gd name="T7" fmla="*/ 403 h 409"/>
                <a:gd name="T8" fmla="*/ 163 w 456"/>
                <a:gd name="T9" fmla="*/ 400 h 409"/>
                <a:gd name="T10" fmla="*/ 145 w 456"/>
                <a:gd name="T11" fmla="*/ 394 h 409"/>
                <a:gd name="T12" fmla="*/ 127 w 456"/>
                <a:gd name="T13" fmla="*/ 394 h 409"/>
                <a:gd name="T14" fmla="*/ 103 w 456"/>
                <a:gd name="T15" fmla="*/ 382 h 409"/>
                <a:gd name="T16" fmla="*/ 54 w 456"/>
                <a:gd name="T17" fmla="*/ 391 h 409"/>
                <a:gd name="T18" fmla="*/ 2 w 456"/>
                <a:gd name="T19" fmla="*/ 341 h 409"/>
                <a:gd name="T20" fmla="*/ 0 w 456"/>
                <a:gd name="T21" fmla="*/ 195 h 409"/>
                <a:gd name="T22" fmla="*/ 72 w 456"/>
                <a:gd name="T23" fmla="*/ 185 h 409"/>
                <a:gd name="T24" fmla="*/ 75 w 456"/>
                <a:gd name="T25" fmla="*/ 164 h 409"/>
                <a:gd name="T26" fmla="*/ 82 w 456"/>
                <a:gd name="T27" fmla="*/ 134 h 409"/>
                <a:gd name="T28" fmla="*/ 94 w 456"/>
                <a:gd name="T29" fmla="*/ 120 h 409"/>
                <a:gd name="T30" fmla="*/ 94 w 456"/>
                <a:gd name="T31" fmla="*/ 134 h 409"/>
                <a:gd name="T32" fmla="*/ 127 w 456"/>
                <a:gd name="T33" fmla="*/ 124 h 409"/>
                <a:gd name="T34" fmla="*/ 132 w 456"/>
                <a:gd name="T35" fmla="*/ 143 h 409"/>
                <a:gd name="T36" fmla="*/ 187 w 456"/>
                <a:gd name="T37" fmla="*/ 155 h 409"/>
                <a:gd name="T38" fmla="*/ 196 w 456"/>
                <a:gd name="T39" fmla="*/ 143 h 409"/>
                <a:gd name="T40" fmla="*/ 205 w 456"/>
                <a:gd name="T41" fmla="*/ 146 h 409"/>
                <a:gd name="T42" fmla="*/ 216 w 456"/>
                <a:gd name="T43" fmla="*/ 171 h 409"/>
                <a:gd name="T44" fmla="*/ 254 w 456"/>
                <a:gd name="T45" fmla="*/ 176 h 409"/>
                <a:gd name="T46" fmla="*/ 263 w 456"/>
                <a:gd name="T47" fmla="*/ 195 h 409"/>
                <a:gd name="T48" fmla="*/ 277 w 456"/>
                <a:gd name="T49" fmla="*/ 214 h 409"/>
                <a:gd name="T50" fmla="*/ 301 w 456"/>
                <a:gd name="T51" fmla="*/ 208 h 409"/>
                <a:gd name="T52" fmla="*/ 305 w 456"/>
                <a:gd name="T53" fmla="*/ 217 h 409"/>
                <a:gd name="T54" fmla="*/ 293 w 456"/>
                <a:gd name="T55" fmla="*/ 164 h 409"/>
                <a:gd name="T56" fmla="*/ 284 w 456"/>
                <a:gd name="T57" fmla="*/ 174 h 409"/>
                <a:gd name="T58" fmla="*/ 266 w 456"/>
                <a:gd name="T59" fmla="*/ 162 h 409"/>
                <a:gd name="T60" fmla="*/ 247 w 456"/>
                <a:gd name="T61" fmla="*/ 139 h 409"/>
                <a:gd name="T62" fmla="*/ 263 w 456"/>
                <a:gd name="T63" fmla="*/ 102 h 409"/>
                <a:gd name="T64" fmla="*/ 263 w 456"/>
                <a:gd name="T65" fmla="*/ 68 h 409"/>
                <a:gd name="T66" fmla="*/ 247 w 456"/>
                <a:gd name="T67" fmla="*/ 46 h 409"/>
                <a:gd name="T68" fmla="*/ 272 w 456"/>
                <a:gd name="T69" fmla="*/ 21 h 409"/>
                <a:gd name="T70" fmla="*/ 344 w 456"/>
                <a:gd name="T71" fmla="*/ 0 h 409"/>
                <a:gd name="T72" fmla="*/ 369 w 456"/>
                <a:gd name="T73" fmla="*/ 19 h 409"/>
                <a:gd name="T74" fmla="*/ 393 w 456"/>
                <a:gd name="T75" fmla="*/ 31 h 409"/>
                <a:gd name="T76" fmla="*/ 407 w 456"/>
                <a:gd name="T77" fmla="*/ 40 h 409"/>
                <a:gd name="T78" fmla="*/ 426 w 456"/>
                <a:gd name="T79" fmla="*/ 49 h 409"/>
                <a:gd name="T80" fmla="*/ 438 w 456"/>
                <a:gd name="T81" fmla="*/ 58 h 409"/>
                <a:gd name="T82" fmla="*/ 444 w 456"/>
                <a:gd name="T83" fmla="*/ 78 h 409"/>
                <a:gd name="T84" fmla="*/ 453 w 456"/>
                <a:gd name="T85" fmla="*/ 90 h 409"/>
                <a:gd name="T86" fmla="*/ 453 w 456"/>
                <a:gd name="T87" fmla="*/ 109 h 409"/>
                <a:gd name="T88" fmla="*/ 447 w 456"/>
                <a:gd name="T89" fmla="*/ 120 h 409"/>
                <a:gd name="T90" fmla="*/ 444 w 456"/>
                <a:gd name="T91" fmla="*/ 146 h 409"/>
                <a:gd name="T92" fmla="*/ 444 w 456"/>
                <a:gd name="T93" fmla="*/ 171 h 409"/>
                <a:gd name="T94" fmla="*/ 444 w 456"/>
                <a:gd name="T95" fmla="*/ 176 h 409"/>
                <a:gd name="T96" fmla="*/ 428 w 456"/>
                <a:gd name="T97" fmla="*/ 185 h 409"/>
                <a:gd name="T98" fmla="*/ 426 w 456"/>
                <a:gd name="T99" fmla="*/ 214 h 409"/>
                <a:gd name="T100" fmla="*/ 428 w 456"/>
                <a:gd name="T101" fmla="*/ 236 h 409"/>
                <a:gd name="T102" fmla="*/ 435 w 456"/>
                <a:gd name="T103" fmla="*/ 236 h 409"/>
                <a:gd name="T104" fmla="*/ 322 w 456"/>
                <a:gd name="T105" fmla="*/ 280 h 409"/>
                <a:gd name="T106" fmla="*/ 322 w 456"/>
                <a:gd name="T107" fmla="*/ 280 h 409"/>
                <a:gd name="T108" fmla="*/ 322 w 456"/>
                <a:gd name="T109" fmla="*/ 280 h 4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56" h="409">
                  <a:moveTo>
                    <a:pt x="322" y="280"/>
                  </a:moveTo>
                  <a:lnTo>
                    <a:pt x="332" y="307"/>
                  </a:lnTo>
                  <a:lnTo>
                    <a:pt x="296" y="307"/>
                  </a:lnTo>
                  <a:lnTo>
                    <a:pt x="272" y="320"/>
                  </a:lnTo>
                  <a:lnTo>
                    <a:pt x="263" y="341"/>
                  </a:lnTo>
                  <a:lnTo>
                    <a:pt x="226" y="359"/>
                  </a:lnTo>
                  <a:lnTo>
                    <a:pt x="216" y="378"/>
                  </a:lnTo>
                  <a:lnTo>
                    <a:pt x="196" y="403"/>
                  </a:lnTo>
                  <a:lnTo>
                    <a:pt x="183" y="409"/>
                  </a:lnTo>
                  <a:lnTo>
                    <a:pt x="163" y="400"/>
                  </a:lnTo>
                  <a:lnTo>
                    <a:pt x="153" y="403"/>
                  </a:lnTo>
                  <a:lnTo>
                    <a:pt x="145" y="394"/>
                  </a:lnTo>
                  <a:lnTo>
                    <a:pt x="136" y="400"/>
                  </a:lnTo>
                  <a:lnTo>
                    <a:pt x="127" y="394"/>
                  </a:lnTo>
                  <a:lnTo>
                    <a:pt x="115" y="387"/>
                  </a:lnTo>
                  <a:lnTo>
                    <a:pt x="103" y="382"/>
                  </a:lnTo>
                  <a:lnTo>
                    <a:pt x="84" y="382"/>
                  </a:lnTo>
                  <a:lnTo>
                    <a:pt x="54" y="391"/>
                  </a:lnTo>
                  <a:lnTo>
                    <a:pt x="44" y="382"/>
                  </a:lnTo>
                  <a:lnTo>
                    <a:pt x="2" y="341"/>
                  </a:lnTo>
                  <a:lnTo>
                    <a:pt x="0" y="329"/>
                  </a:lnTo>
                  <a:lnTo>
                    <a:pt x="0" y="195"/>
                  </a:lnTo>
                  <a:lnTo>
                    <a:pt x="75" y="201"/>
                  </a:lnTo>
                  <a:lnTo>
                    <a:pt x="72" y="185"/>
                  </a:lnTo>
                  <a:lnTo>
                    <a:pt x="82" y="174"/>
                  </a:lnTo>
                  <a:lnTo>
                    <a:pt x="75" y="164"/>
                  </a:lnTo>
                  <a:lnTo>
                    <a:pt x="75" y="143"/>
                  </a:lnTo>
                  <a:lnTo>
                    <a:pt x="82" y="134"/>
                  </a:lnTo>
                  <a:lnTo>
                    <a:pt x="75" y="111"/>
                  </a:lnTo>
                  <a:lnTo>
                    <a:pt x="94" y="120"/>
                  </a:lnTo>
                  <a:lnTo>
                    <a:pt x="90" y="130"/>
                  </a:lnTo>
                  <a:lnTo>
                    <a:pt x="94" y="134"/>
                  </a:lnTo>
                  <a:lnTo>
                    <a:pt x="105" y="130"/>
                  </a:lnTo>
                  <a:lnTo>
                    <a:pt x="127" y="124"/>
                  </a:lnTo>
                  <a:lnTo>
                    <a:pt x="127" y="130"/>
                  </a:lnTo>
                  <a:lnTo>
                    <a:pt x="132" y="143"/>
                  </a:lnTo>
                  <a:lnTo>
                    <a:pt x="153" y="152"/>
                  </a:lnTo>
                  <a:lnTo>
                    <a:pt x="187" y="155"/>
                  </a:lnTo>
                  <a:lnTo>
                    <a:pt x="193" y="152"/>
                  </a:lnTo>
                  <a:lnTo>
                    <a:pt x="196" y="143"/>
                  </a:lnTo>
                  <a:lnTo>
                    <a:pt x="202" y="139"/>
                  </a:lnTo>
                  <a:lnTo>
                    <a:pt x="205" y="146"/>
                  </a:lnTo>
                  <a:lnTo>
                    <a:pt x="214" y="155"/>
                  </a:lnTo>
                  <a:lnTo>
                    <a:pt x="216" y="171"/>
                  </a:lnTo>
                  <a:lnTo>
                    <a:pt x="226" y="171"/>
                  </a:lnTo>
                  <a:lnTo>
                    <a:pt x="254" y="176"/>
                  </a:lnTo>
                  <a:lnTo>
                    <a:pt x="256" y="192"/>
                  </a:lnTo>
                  <a:lnTo>
                    <a:pt x="263" y="195"/>
                  </a:lnTo>
                  <a:lnTo>
                    <a:pt x="275" y="214"/>
                  </a:lnTo>
                  <a:lnTo>
                    <a:pt x="277" y="214"/>
                  </a:lnTo>
                  <a:lnTo>
                    <a:pt x="296" y="208"/>
                  </a:lnTo>
                  <a:lnTo>
                    <a:pt x="301" y="208"/>
                  </a:lnTo>
                  <a:lnTo>
                    <a:pt x="296" y="214"/>
                  </a:lnTo>
                  <a:lnTo>
                    <a:pt x="305" y="217"/>
                  </a:lnTo>
                  <a:lnTo>
                    <a:pt x="305" y="164"/>
                  </a:lnTo>
                  <a:lnTo>
                    <a:pt x="293" y="164"/>
                  </a:lnTo>
                  <a:lnTo>
                    <a:pt x="293" y="174"/>
                  </a:lnTo>
                  <a:lnTo>
                    <a:pt x="284" y="174"/>
                  </a:lnTo>
                  <a:lnTo>
                    <a:pt x="275" y="174"/>
                  </a:lnTo>
                  <a:lnTo>
                    <a:pt x="266" y="162"/>
                  </a:lnTo>
                  <a:lnTo>
                    <a:pt x="254" y="152"/>
                  </a:lnTo>
                  <a:lnTo>
                    <a:pt x="247" y="139"/>
                  </a:lnTo>
                  <a:lnTo>
                    <a:pt x="256" y="111"/>
                  </a:lnTo>
                  <a:lnTo>
                    <a:pt x="263" y="102"/>
                  </a:lnTo>
                  <a:lnTo>
                    <a:pt x="256" y="83"/>
                  </a:lnTo>
                  <a:lnTo>
                    <a:pt x="263" y="68"/>
                  </a:lnTo>
                  <a:lnTo>
                    <a:pt x="254" y="49"/>
                  </a:lnTo>
                  <a:lnTo>
                    <a:pt x="247" y="46"/>
                  </a:lnTo>
                  <a:lnTo>
                    <a:pt x="266" y="28"/>
                  </a:lnTo>
                  <a:lnTo>
                    <a:pt x="272" y="21"/>
                  </a:lnTo>
                  <a:lnTo>
                    <a:pt x="272" y="16"/>
                  </a:lnTo>
                  <a:lnTo>
                    <a:pt x="344" y="0"/>
                  </a:lnTo>
                  <a:lnTo>
                    <a:pt x="353" y="19"/>
                  </a:lnTo>
                  <a:lnTo>
                    <a:pt x="369" y="19"/>
                  </a:lnTo>
                  <a:lnTo>
                    <a:pt x="378" y="31"/>
                  </a:lnTo>
                  <a:lnTo>
                    <a:pt x="393" y="31"/>
                  </a:lnTo>
                  <a:lnTo>
                    <a:pt x="393" y="37"/>
                  </a:lnTo>
                  <a:lnTo>
                    <a:pt x="407" y="40"/>
                  </a:lnTo>
                  <a:lnTo>
                    <a:pt x="414" y="46"/>
                  </a:lnTo>
                  <a:lnTo>
                    <a:pt x="426" y="49"/>
                  </a:lnTo>
                  <a:lnTo>
                    <a:pt x="428" y="58"/>
                  </a:lnTo>
                  <a:lnTo>
                    <a:pt x="438" y="58"/>
                  </a:lnTo>
                  <a:lnTo>
                    <a:pt x="444" y="72"/>
                  </a:lnTo>
                  <a:lnTo>
                    <a:pt x="444" y="78"/>
                  </a:lnTo>
                  <a:lnTo>
                    <a:pt x="453" y="83"/>
                  </a:lnTo>
                  <a:lnTo>
                    <a:pt x="453" y="90"/>
                  </a:lnTo>
                  <a:lnTo>
                    <a:pt x="456" y="100"/>
                  </a:lnTo>
                  <a:lnTo>
                    <a:pt x="453" y="109"/>
                  </a:lnTo>
                  <a:lnTo>
                    <a:pt x="438" y="111"/>
                  </a:lnTo>
                  <a:lnTo>
                    <a:pt x="447" y="120"/>
                  </a:lnTo>
                  <a:lnTo>
                    <a:pt x="438" y="134"/>
                  </a:lnTo>
                  <a:lnTo>
                    <a:pt x="444" y="146"/>
                  </a:lnTo>
                  <a:lnTo>
                    <a:pt x="438" y="164"/>
                  </a:lnTo>
                  <a:lnTo>
                    <a:pt x="444" y="171"/>
                  </a:lnTo>
                  <a:lnTo>
                    <a:pt x="453" y="174"/>
                  </a:lnTo>
                  <a:lnTo>
                    <a:pt x="444" y="176"/>
                  </a:lnTo>
                  <a:lnTo>
                    <a:pt x="428" y="183"/>
                  </a:lnTo>
                  <a:lnTo>
                    <a:pt x="428" y="185"/>
                  </a:lnTo>
                  <a:lnTo>
                    <a:pt x="428" y="195"/>
                  </a:lnTo>
                  <a:lnTo>
                    <a:pt x="426" y="214"/>
                  </a:lnTo>
                  <a:lnTo>
                    <a:pt x="416" y="223"/>
                  </a:lnTo>
                  <a:lnTo>
                    <a:pt x="428" y="236"/>
                  </a:lnTo>
                  <a:lnTo>
                    <a:pt x="435" y="239"/>
                  </a:lnTo>
                  <a:lnTo>
                    <a:pt x="435" y="236"/>
                  </a:lnTo>
                  <a:lnTo>
                    <a:pt x="438" y="239"/>
                  </a:lnTo>
                  <a:lnTo>
                    <a:pt x="322" y="280"/>
                  </a:lnTo>
                  <a:lnTo>
                    <a:pt x="322" y="280"/>
                  </a:lnTo>
                  <a:lnTo>
                    <a:pt x="322" y="280"/>
                  </a:lnTo>
                  <a:lnTo>
                    <a:pt x="322" y="280"/>
                  </a:lnTo>
                  <a:lnTo>
                    <a:pt x="322" y="280"/>
                  </a:lnTo>
                  <a:close/>
                </a:path>
              </a:pathLst>
            </a:custGeom>
            <a:solidFill>
              <a:srgbClr val="FEC057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71" name="Freeform 57">
              <a:extLst>
                <a:ext uri="{FF2B5EF4-FFF2-40B4-BE49-F238E27FC236}">
                  <a16:creationId xmlns:a16="http://schemas.microsoft.com/office/drawing/2014/main" id="{97434ECA-2352-43ED-9E73-29DA797A3F9F}"/>
                </a:ext>
              </a:extLst>
            </p:cNvPr>
            <p:cNvSpPr>
              <a:spLocks/>
            </p:cNvSpPr>
            <p:nvPr/>
          </p:nvSpPr>
          <p:spPr bwMode="gray">
            <a:xfrm>
              <a:off x="7118715" y="5834981"/>
              <a:ext cx="288805" cy="259089"/>
            </a:xfrm>
            <a:custGeom>
              <a:avLst/>
              <a:gdLst>
                <a:gd name="T0" fmla="*/ 283 w 311"/>
                <a:gd name="T1" fmla="*/ 233 h 279"/>
                <a:gd name="T2" fmla="*/ 222 w 311"/>
                <a:gd name="T3" fmla="*/ 276 h 279"/>
                <a:gd name="T4" fmla="*/ 178 w 311"/>
                <a:gd name="T5" fmla="*/ 267 h 279"/>
                <a:gd name="T6" fmla="*/ 159 w 311"/>
                <a:gd name="T7" fmla="*/ 263 h 279"/>
                <a:gd name="T8" fmla="*/ 150 w 311"/>
                <a:gd name="T9" fmla="*/ 254 h 279"/>
                <a:gd name="T10" fmla="*/ 110 w 311"/>
                <a:gd name="T11" fmla="*/ 245 h 279"/>
                <a:gd name="T12" fmla="*/ 98 w 311"/>
                <a:gd name="T13" fmla="*/ 203 h 279"/>
                <a:gd name="T14" fmla="*/ 77 w 311"/>
                <a:gd name="T15" fmla="*/ 185 h 279"/>
                <a:gd name="T16" fmla="*/ 37 w 311"/>
                <a:gd name="T17" fmla="*/ 157 h 279"/>
                <a:gd name="T18" fmla="*/ 28 w 311"/>
                <a:gd name="T19" fmla="*/ 134 h 279"/>
                <a:gd name="T20" fmla="*/ 0 w 311"/>
                <a:gd name="T21" fmla="*/ 85 h 279"/>
                <a:gd name="T22" fmla="*/ 19 w 311"/>
                <a:gd name="T23" fmla="*/ 85 h 279"/>
                <a:gd name="T24" fmla="*/ 37 w 311"/>
                <a:gd name="T25" fmla="*/ 92 h 279"/>
                <a:gd name="T26" fmla="*/ 70 w 311"/>
                <a:gd name="T27" fmla="*/ 95 h 279"/>
                <a:gd name="T28" fmla="*/ 101 w 311"/>
                <a:gd name="T29" fmla="*/ 51 h 279"/>
                <a:gd name="T30" fmla="*/ 147 w 311"/>
                <a:gd name="T31" fmla="*/ 12 h 279"/>
                <a:gd name="T32" fmla="*/ 208 w 311"/>
                <a:gd name="T33" fmla="*/ 0 h 279"/>
                <a:gd name="T34" fmla="*/ 237 w 311"/>
                <a:gd name="T35" fmla="*/ 12 h 279"/>
                <a:gd name="T36" fmla="*/ 252 w 311"/>
                <a:gd name="T37" fmla="*/ 21 h 279"/>
                <a:gd name="T38" fmla="*/ 280 w 311"/>
                <a:gd name="T39" fmla="*/ 33 h 279"/>
                <a:gd name="T40" fmla="*/ 298 w 311"/>
                <a:gd name="T41" fmla="*/ 42 h 279"/>
                <a:gd name="T42" fmla="*/ 302 w 311"/>
                <a:gd name="T43" fmla="*/ 51 h 279"/>
                <a:gd name="T44" fmla="*/ 304 w 311"/>
                <a:gd name="T45" fmla="*/ 74 h 279"/>
                <a:gd name="T46" fmla="*/ 302 w 311"/>
                <a:gd name="T47" fmla="*/ 95 h 279"/>
                <a:gd name="T48" fmla="*/ 311 w 311"/>
                <a:gd name="T49" fmla="*/ 110 h 279"/>
                <a:gd name="T50" fmla="*/ 302 w 311"/>
                <a:gd name="T51" fmla="*/ 125 h 279"/>
                <a:gd name="T52" fmla="*/ 292 w 311"/>
                <a:gd name="T53" fmla="*/ 134 h 279"/>
                <a:gd name="T54" fmla="*/ 298 w 311"/>
                <a:gd name="T55" fmla="*/ 157 h 279"/>
                <a:gd name="T56" fmla="*/ 302 w 311"/>
                <a:gd name="T57" fmla="*/ 193 h 279"/>
                <a:gd name="T58" fmla="*/ 283 w 311"/>
                <a:gd name="T59" fmla="*/ 205 h 279"/>
                <a:gd name="T60" fmla="*/ 280 w 311"/>
                <a:gd name="T61" fmla="*/ 226 h 279"/>
                <a:gd name="T62" fmla="*/ 283 w 311"/>
                <a:gd name="T63" fmla="*/ 236 h 279"/>
                <a:gd name="T64" fmla="*/ 283 w 311"/>
                <a:gd name="T65" fmla="*/ 236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11" h="279">
                  <a:moveTo>
                    <a:pt x="283" y="236"/>
                  </a:moveTo>
                  <a:lnTo>
                    <a:pt x="283" y="233"/>
                  </a:lnTo>
                  <a:lnTo>
                    <a:pt x="241" y="279"/>
                  </a:lnTo>
                  <a:lnTo>
                    <a:pt x="222" y="276"/>
                  </a:lnTo>
                  <a:lnTo>
                    <a:pt x="201" y="276"/>
                  </a:lnTo>
                  <a:lnTo>
                    <a:pt x="178" y="267"/>
                  </a:lnTo>
                  <a:lnTo>
                    <a:pt x="161" y="273"/>
                  </a:lnTo>
                  <a:lnTo>
                    <a:pt x="159" y="263"/>
                  </a:lnTo>
                  <a:lnTo>
                    <a:pt x="150" y="263"/>
                  </a:lnTo>
                  <a:lnTo>
                    <a:pt x="150" y="254"/>
                  </a:lnTo>
                  <a:lnTo>
                    <a:pt x="131" y="245"/>
                  </a:lnTo>
                  <a:lnTo>
                    <a:pt x="110" y="245"/>
                  </a:lnTo>
                  <a:lnTo>
                    <a:pt x="98" y="224"/>
                  </a:lnTo>
                  <a:lnTo>
                    <a:pt x="98" y="203"/>
                  </a:lnTo>
                  <a:lnTo>
                    <a:pt x="80" y="203"/>
                  </a:lnTo>
                  <a:lnTo>
                    <a:pt x="77" y="185"/>
                  </a:lnTo>
                  <a:lnTo>
                    <a:pt x="58" y="175"/>
                  </a:lnTo>
                  <a:lnTo>
                    <a:pt x="37" y="157"/>
                  </a:lnTo>
                  <a:lnTo>
                    <a:pt x="28" y="141"/>
                  </a:lnTo>
                  <a:lnTo>
                    <a:pt x="28" y="134"/>
                  </a:lnTo>
                  <a:lnTo>
                    <a:pt x="0" y="102"/>
                  </a:lnTo>
                  <a:lnTo>
                    <a:pt x="0" y="85"/>
                  </a:lnTo>
                  <a:lnTo>
                    <a:pt x="10" y="92"/>
                  </a:lnTo>
                  <a:lnTo>
                    <a:pt x="19" y="85"/>
                  </a:lnTo>
                  <a:lnTo>
                    <a:pt x="28" y="95"/>
                  </a:lnTo>
                  <a:lnTo>
                    <a:pt x="37" y="92"/>
                  </a:lnTo>
                  <a:lnTo>
                    <a:pt x="58" y="102"/>
                  </a:lnTo>
                  <a:lnTo>
                    <a:pt x="70" y="95"/>
                  </a:lnTo>
                  <a:lnTo>
                    <a:pt x="91" y="70"/>
                  </a:lnTo>
                  <a:lnTo>
                    <a:pt x="101" y="51"/>
                  </a:lnTo>
                  <a:lnTo>
                    <a:pt x="138" y="33"/>
                  </a:lnTo>
                  <a:lnTo>
                    <a:pt x="147" y="12"/>
                  </a:lnTo>
                  <a:lnTo>
                    <a:pt x="171" y="0"/>
                  </a:lnTo>
                  <a:lnTo>
                    <a:pt x="208" y="0"/>
                  </a:lnTo>
                  <a:lnTo>
                    <a:pt x="208" y="12"/>
                  </a:lnTo>
                  <a:lnTo>
                    <a:pt x="237" y="12"/>
                  </a:lnTo>
                  <a:lnTo>
                    <a:pt x="244" y="21"/>
                  </a:lnTo>
                  <a:lnTo>
                    <a:pt x="252" y="21"/>
                  </a:lnTo>
                  <a:lnTo>
                    <a:pt x="262" y="30"/>
                  </a:lnTo>
                  <a:lnTo>
                    <a:pt x="280" y="33"/>
                  </a:lnTo>
                  <a:lnTo>
                    <a:pt x="292" y="40"/>
                  </a:lnTo>
                  <a:lnTo>
                    <a:pt x="298" y="42"/>
                  </a:lnTo>
                  <a:lnTo>
                    <a:pt x="304" y="42"/>
                  </a:lnTo>
                  <a:lnTo>
                    <a:pt x="302" y="51"/>
                  </a:lnTo>
                  <a:lnTo>
                    <a:pt x="304" y="70"/>
                  </a:lnTo>
                  <a:lnTo>
                    <a:pt x="304" y="74"/>
                  </a:lnTo>
                  <a:lnTo>
                    <a:pt x="304" y="79"/>
                  </a:lnTo>
                  <a:lnTo>
                    <a:pt x="302" y="95"/>
                  </a:lnTo>
                  <a:lnTo>
                    <a:pt x="304" y="104"/>
                  </a:lnTo>
                  <a:lnTo>
                    <a:pt x="311" y="110"/>
                  </a:lnTo>
                  <a:lnTo>
                    <a:pt x="302" y="116"/>
                  </a:lnTo>
                  <a:lnTo>
                    <a:pt x="302" y="125"/>
                  </a:lnTo>
                  <a:lnTo>
                    <a:pt x="292" y="132"/>
                  </a:lnTo>
                  <a:lnTo>
                    <a:pt x="292" y="134"/>
                  </a:lnTo>
                  <a:lnTo>
                    <a:pt x="302" y="141"/>
                  </a:lnTo>
                  <a:lnTo>
                    <a:pt x="298" y="157"/>
                  </a:lnTo>
                  <a:lnTo>
                    <a:pt x="311" y="171"/>
                  </a:lnTo>
                  <a:lnTo>
                    <a:pt x="302" y="193"/>
                  </a:lnTo>
                  <a:lnTo>
                    <a:pt x="292" y="203"/>
                  </a:lnTo>
                  <a:lnTo>
                    <a:pt x="283" y="205"/>
                  </a:lnTo>
                  <a:lnTo>
                    <a:pt x="289" y="215"/>
                  </a:lnTo>
                  <a:lnTo>
                    <a:pt x="280" y="226"/>
                  </a:lnTo>
                  <a:lnTo>
                    <a:pt x="283" y="236"/>
                  </a:lnTo>
                  <a:lnTo>
                    <a:pt x="283" y="236"/>
                  </a:lnTo>
                  <a:lnTo>
                    <a:pt x="283" y="236"/>
                  </a:lnTo>
                  <a:lnTo>
                    <a:pt x="283" y="236"/>
                  </a:lnTo>
                  <a:lnTo>
                    <a:pt x="283" y="236"/>
                  </a:lnTo>
                  <a:close/>
                </a:path>
              </a:pathLst>
            </a:custGeom>
            <a:solidFill>
              <a:srgbClr val="FEC057"/>
            </a:solidFill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72" name="Freeform 58">
              <a:extLst>
                <a:ext uri="{FF2B5EF4-FFF2-40B4-BE49-F238E27FC236}">
                  <a16:creationId xmlns:a16="http://schemas.microsoft.com/office/drawing/2014/main" id="{D27246C2-2BF9-4DC4-BD85-F3E8427AB312}"/>
                </a:ext>
              </a:extLst>
            </p:cNvPr>
            <p:cNvSpPr>
              <a:spLocks/>
            </p:cNvSpPr>
            <p:nvPr/>
          </p:nvSpPr>
          <p:spPr bwMode="gray">
            <a:xfrm>
              <a:off x="6995207" y="4393740"/>
              <a:ext cx="611042" cy="520963"/>
            </a:xfrm>
            <a:custGeom>
              <a:avLst/>
              <a:gdLst>
                <a:gd name="T0" fmla="*/ 1116 w 8283"/>
                <a:gd name="T1" fmla="*/ 7067 h 7067"/>
                <a:gd name="T2" fmla="*/ 1983 w 8283"/>
                <a:gd name="T3" fmla="*/ 6181 h 7067"/>
                <a:gd name="T4" fmla="*/ 3100 w 8283"/>
                <a:gd name="T5" fmla="*/ 6415 h 7067"/>
                <a:gd name="T6" fmla="*/ 3500 w 8283"/>
                <a:gd name="T7" fmla="*/ 6599 h 7067"/>
                <a:gd name="T8" fmla="*/ 3966 w 8283"/>
                <a:gd name="T9" fmla="*/ 6415 h 7067"/>
                <a:gd name="T10" fmla="*/ 4283 w 8283"/>
                <a:gd name="T11" fmla="*/ 6064 h 7067"/>
                <a:gd name="T12" fmla="*/ 4816 w 8283"/>
                <a:gd name="T13" fmla="*/ 6415 h 7067"/>
                <a:gd name="T14" fmla="*/ 5416 w 8283"/>
                <a:gd name="T15" fmla="*/ 5246 h 7067"/>
                <a:gd name="T16" fmla="*/ 5616 w 8283"/>
                <a:gd name="T17" fmla="*/ 5196 h 7067"/>
                <a:gd name="T18" fmla="*/ 5866 w 8283"/>
                <a:gd name="T19" fmla="*/ 4962 h 7067"/>
                <a:gd name="T20" fmla="*/ 6199 w 8283"/>
                <a:gd name="T21" fmla="*/ 6064 h 7067"/>
                <a:gd name="T22" fmla="*/ 6249 w 8283"/>
                <a:gd name="T23" fmla="*/ 6064 h 7067"/>
                <a:gd name="T24" fmla="*/ 6466 w 8283"/>
                <a:gd name="T25" fmla="*/ 6048 h 7067"/>
                <a:gd name="T26" fmla="*/ 6499 w 8283"/>
                <a:gd name="T27" fmla="*/ 5764 h 7067"/>
                <a:gd name="T28" fmla="*/ 6583 w 8283"/>
                <a:gd name="T29" fmla="*/ 5496 h 7067"/>
                <a:gd name="T30" fmla="*/ 6883 w 8283"/>
                <a:gd name="T31" fmla="*/ 5062 h 7067"/>
                <a:gd name="T32" fmla="*/ 7116 w 8283"/>
                <a:gd name="T33" fmla="*/ 4828 h 7067"/>
                <a:gd name="T34" fmla="*/ 7216 w 8283"/>
                <a:gd name="T35" fmla="*/ 4394 h 7067"/>
                <a:gd name="T36" fmla="*/ 7216 w 8283"/>
                <a:gd name="T37" fmla="*/ 3759 h 7067"/>
                <a:gd name="T38" fmla="*/ 7416 w 8283"/>
                <a:gd name="T39" fmla="*/ 3024 h 7067"/>
                <a:gd name="T40" fmla="*/ 7483 w 8283"/>
                <a:gd name="T41" fmla="*/ 2740 h 7067"/>
                <a:gd name="T42" fmla="*/ 7749 w 8283"/>
                <a:gd name="T43" fmla="*/ 2623 h 7067"/>
                <a:gd name="T44" fmla="*/ 8133 w 8283"/>
                <a:gd name="T45" fmla="*/ 2506 h 7067"/>
                <a:gd name="T46" fmla="*/ 8249 w 8283"/>
                <a:gd name="T47" fmla="*/ 2188 h 7067"/>
                <a:gd name="T48" fmla="*/ 7866 w 8283"/>
                <a:gd name="T49" fmla="*/ 1921 h 7067"/>
                <a:gd name="T50" fmla="*/ 7716 w 8283"/>
                <a:gd name="T51" fmla="*/ 1804 h 7067"/>
                <a:gd name="T52" fmla="*/ 7599 w 8283"/>
                <a:gd name="T53" fmla="*/ 1052 h 7067"/>
                <a:gd name="T54" fmla="*/ 7533 w 8283"/>
                <a:gd name="T55" fmla="*/ 551 h 7067"/>
                <a:gd name="T56" fmla="*/ 7633 w 8283"/>
                <a:gd name="T57" fmla="*/ 668 h 7067"/>
                <a:gd name="T58" fmla="*/ 7483 w 8283"/>
                <a:gd name="T59" fmla="*/ 351 h 7067"/>
                <a:gd name="T60" fmla="*/ 4749 w 8283"/>
                <a:gd name="T61" fmla="*/ 117 h 7067"/>
                <a:gd name="T62" fmla="*/ 4749 w 8283"/>
                <a:gd name="T63" fmla="*/ 0 h 7067"/>
                <a:gd name="T64" fmla="*/ 1550 w 8283"/>
                <a:gd name="T65" fmla="*/ 117 h 7067"/>
                <a:gd name="T66" fmla="*/ 1050 w 8283"/>
                <a:gd name="T67" fmla="*/ 1169 h 7067"/>
                <a:gd name="T68" fmla="*/ 1050 w 8283"/>
                <a:gd name="T69" fmla="*/ 3492 h 7067"/>
                <a:gd name="T70" fmla="*/ 566 w 8283"/>
                <a:gd name="T71" fmla="*/ 3525 h 7067"/>
                <a:gd name="T72" fmla="*/ 566 w 8283"/>
                <a:gd name="T73" fmla="*/ 3759 h 7067"/>
                <a:gd name="T74" fmla="*/ 416 w 8283"/>
                <a:gd name="T75" fmla="*/ 3993 h 7067"/>
                <a:gd name="T76" fmla="*/ 366 w 8283"/>
                <a:gd name="T77" fmla="*/ 4277 h 7067"/>
                <a:gd name="T78" fmla="*/ 150 w 8283"/>
                <a:gd name="T79" fmla="*/ 4477 h 7067"/>
                <a:gd name="T80" fmla="*/ 100 w 8283"/>
                <a:gd name="T81" fmla="*/ 4828 h 7067"/>
                <a:gd name="T82" fmla="*/ 100 w 8283"/>
                <a:gd name="T83" fmla="*/ 5062 h 7067"/>
                <a:gd name="T84" fmla="*/ 183 w 8283"/>
                <a:gd name="T85" fmla="*/ 4978 h 7067"/>
                <a:gd name="T86" fmla="*/ 300 w 8283"/>
                <a:gd name="T87" fmla="*/ 5179 h 7067"/>
                <a:gd name="T88" fmla="*/ 366 w 8283"/>
                <a:gd name="T89" fmla="*/ 5613 h 7067"/>
                <a:gd name="T90" fmla="*/ 533 w 8283"/>
                <a:gd name="T91" fmla="*/ 5647 h 7067"/>
                <a:gd name="T92" fmla="*/ 533 w 8283"/>
                <a:gd name="T93" fmla="*/ 5964 h 7067"/>
                <a:gd name="T94" fmla="*/ 900 w 8283"/>
                <a:gd name="T95" fmla="*/ 6515 h 7067"/>
                <a:gd name="T96" fmla="*/ 866 w 8283"/>
                <a:gd name="T97" fmla="*/ 6833 h 7067"/>
                <a:gd name="T98" fmla="*/ 866 w 8283"/>
                <a:gd name="T99" fmla="*/ 6950 h 7067"/>
                <a:gd name="T100" fmla="*/ 1116 w 8283"/>
                <a:gd name="T101" fmla="*/ 7067 h 70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283" h="7067">
                  <a:moveTo>
                    <a:pt x="1116" y="7067"/>
                  </a:moveTo>
                  <a:cubicBezTo>
                    <a:pt x="1116" y="7067"/>
                    <a:pt x="1116" y="7067"/>
                    <a:pt x="1116" y="7067"/>
                  </a:cubicBezTo>
                  <a:cubicBezTo>
                    <a:pt x="1116" y="7067"/>
                    <a:pt x="1116" y="7067"/>
                    <a:pt x="1583" y="6131"/>
                  </a:cubicBezTo>
                  <a:cubicBezTo>
                    <a:pt x="1583" y="6131"/>
                    <a:pt x="1583" y="6131"/>
                    <a:pt x="1983" y="6181"/>
                  </a:cubicBezTo>
                  <a:cubicBezTo>
                    <a:pt x="1983" y="6181"/>
                    <a:pt x="1983" y="6181"/>
                    <a:pt x="2250" y="6532"/>
                  </a:cubicBezTo>
                  <a:cubicBezTo>
                    <a:pt x="2250" y="6532"/>
                    <a:pt x="2250" y="6532"/>
                    <a:pt x="3100" y="6415"/>
                  </a:cubicBezTo>
                  <a:cubicBezTo>
                    <a:pt x="3100" y="6415"/>
                    <a:pt x="3100" y="6415"/>
                    <a:pt x="3100" y="6599"/>
                  </a:cubicBezTo>
                  <a:cubicBezTo>
                    <a:pt x="3100" y="6599"/>
                    <a:pt x="3100" y="6599"/>
                    <a:pt x="3500" y="6599"/>
                  </a:cubicBezTo>
                  <a:cubicBezTo>
                    <a:pt x="3500" y="6599"/>
                    <a:pt x="3500" y="6599"/>
                    <a:pt x="3700" y="6415"/>
                  </a:cubicBezTo>
                  <a:cubicBezTo>
                    <a:pt x="3700" y="6415"/>
                    <a:pt x="3700" y="6415"/>
                    <a:pt x="3966" y="6415"/>
                  </a:cubicBezTo>
                  <a:cubicBezTo>
                    <a:pt x="3966" y="6415"/>
                    <a:pt x="3966" y="6415"/>
                    <a:pt x="3966" y="6181"/>
                  </a:cubicBezTo>
                  <a:cubicBezTo>
                    <a:pt x="3966" y="6181"/>
                    <a:pt x="3966" y="6181"/>
                    <a:pt x="4283" y="6064"/>
                  </a:cubicBezTo>
                  <a:cubicBezTo>
                    <a:pt x="4283" y="6064"/>
                    <a:pt x="4283" y="6064"/>
                    <a:pt x="4683" y="6415"/>
                  </a:cubicBezTo>
                  <a:cubicBezTo>
                    <a:pt x="4683" y="6415"/>
                    <a:pt x="4683" y="6415"/>
                    <a:pt x="4816" y="6415"/>
                  </a:cubicBezTo>
                  <a:cubicBezTo>
                    <a:pt x="4816" y="6415"/>
                    <a:pt x="4816" y="6415"/>
                    <a:pt x="5416" y="5713"/>
                  </a:cubicBezTo>
                  <a:cubicBezTo>
                    <a:pt x="5416" y="5713"/>
                    <a:pt x="5416" y="5713"/>
                    <a:pt x="5416" y="5246"/>
                  </a:cubicBezTo>
                  <a:cubicBezTo>
                    <a:pt x="5416" y="5246"/>
                    <a:pt x="5416" y="5246"/>
                    <a:pt x="5349" y="5246"/>
                  </a:cubicBezTo>
                  <a:cubicBezTo>
                    <a:pt x="5349" y="5246"/>
                    <a:pt x="5349" y="5246"/>
                    <a:pt x="5616" y="5196"/>
                  </a:cubicBezTo>
                  <a:cubicBezTo>
                    <a:pt x="5616" y="5196"/>
                    <a:pt x="5616" y="5196"/>
                    <a:pt x="5616" y="4962"/>
                  </a:cubicBezTo>
                  <a:cubicBezTo>
                    <a:pt x="5616" y="4962"/>
                    <a:pt x="5616" y="4962"/>
                    <a:pt x="5866" y="4962"/>
                  </a:cubicBezTo>
                  <a:cubicBezTo>
                    <a:pt x="5866" y="4962"/>
                    <a:pt x="5866" y="4962"/>
                    <a:pt x="5866" y="6014"/>
                  </a:cubicBezTo>
                  <a:cubicBezTo>
                    <a:pt x="6199" y="6064"/>
                    <a:pt x="6199" y="6064"/>
                    <a:pt x="6199" y="6064"/>
                  </a:cubicBezTo>
                  <a:cubicBezTo>
                    <a:pt x="6199" y="6064"/>
                    <a:pt x="6199" y="6064"/>
                    <a:pt x="6199" y="6081"/>
                  </a:cubicBezTo>
                  <a:cubicBezTo>
                    <a:pt x="6249" y="6064"/>
                    <a:pt x="6249" y="6064"/>
                    <a:pt x="6249" y="6064"/>
                  </a:cubicBezTo>
                  <a:cubicBezTo>
                    <a:pt x="6349" y="5964"/>
                    <a:pt x="6349" y="5964"/>
                    <a:pt x="6349" y="5964"/>
                  </a:cubicBezTo>
                  <a:cubicBezTo>
                    <a:pt x="6466" y="6048"/>
                    <a:pt x="6466" y="6048"/>
                    <a:pt x="6466" y="6048"/>
                  </a:cubicBezTo>
                  <a:cubicBezTo>
                    <a:pt x="6499" y="5964"/>
                    <a:pt x="6499" y="5964"/>
                    <a:pt x="6499" y="5964"/>
                  </a:cubicBezTo>
                  <a:cubicBezTo>
                    <a:pt x="6499" y="5764"/>
                    <a:pt x="6499" y="5764"/>
                    <a:pt x="6499" y="5764"/>
                  </a:cubicBezTo>
                  <a:cubicBezTo>
                    <a:pt x="6583" y="5613"/>
                    <a:pt x="6583" y="5613"/>
                    <a:pt x="6583" y="5613"/>
                  </a:cubicBezTo>
                  <a:cubicBezTo>
                    <a:pt x="6583" y="5496"/>
                    <a:pt x="6583" y="5496"/>
                    <a:pt x="6583" y="5496"/>
                  </a:cubicBezTo>
                  <a:cubicBezTo>
                    <a:pt x="6649" y="5446"/>
                    <a:pt x="6649" y="5446"/>
                    <a:pt x="6649" y="5446"/>
                  </a:cubicBezTo>
                  <a:cubicBezTo>
                    <a:pt x="6883" y="5062"/>
                    <a:pt x="6883" y="5062"/>
                    <a:pt x="6883" y="5062"/>
                  </a:cubicBezTo>
                  <a:cubicBezTo>
                    <a:pt x="7116" y="4978"/>
                    <a:pt x="7116" y="4978"/>
                    <a:pt x="7116" y="4978"/>
                  </a:cubicBezTo>
                  <a:cubicBezTo>
                    <a:pt x="7116" y="4828"/>
                    <a:pt x="7116" y="4828"/>
                    <a:pt x="7116" y="4828"/>
                  </a:cubicBezTo>
                  <a:cubicBezTo>
                    <a:pt x="7266" y="4427"/>
                    <a:pt x="7266" y="4427"/>
                    <a:pt x="7266" y="4427"/>
                  </a:cubicBezTo>
                  <a:cubicBezTo>
                    <a:pt x="7216" y="4394"/>
                    <a:pt x="7216" y="4394"/>
                    <a:pt x="7216" y="4394"/>
                  </a:cubicBezTo>
                  <a:cubicBezTo>
                    <a:pt x="7266" y="4193"/>
                    <a:pt x="7266" y="4193"/>
                    <a:pt x="7266" y="4193"/>
                  </a:cubicBezTo>
                  <a:cubicBezTo>
                    <a:pt x="7216" y="3759"/>
                    <a:pt x="7216" y="3759"/>
                    <a:pt x="7216" y="3759"/>
                  </a:cubicBezTo>
                  <a:cubicBezTo>
                    <a:pt x="7483" y="3141"/>
                    <a:pt x="7483" y="3141"/>
                    <a:pt x="7483" y="3141"/>
                  </a:cubicBezTo>
                  <a:cubicBezTo>
                    <a:pt x="7416" y="3024"/>
                    <a:pt x="7416" y="3024"/>
                    <a:pt x="7416" y="3024"/>
                  </a:cubicBezTo>
                  <a:cubicBezTo>
                    <a:pt x="7483" y="2907"/>
                    <a:pt x="7483" y="2907"/>
                    <a:pt x="7483" y="2907"/>
                  </a:cubicBezTo>
                  <a:cubicBezTo>
                    <a:pt x="7483" y="2740"/>
                    <a:pt x="7483" y="2740"/>
                    <a:pt x="7483" y="2740"/>
                  </a:cubicBezTo>
                  <a:cubicBezTo>
                    <a:pt x="7716" y="2740"/>
                    <a:pt x="7716" y="2740"/>
                    <a:pt x="7716" y="2740"/>
                  </a:cubicBezTo>
                  <a:cubicBezTo>
                    <a:pt x="7749" y="2623"/>
                    <a:pt x="7749" y="2623"/>
                    <a:pt x="7749" y="2623"/>
                  </a:cubicBezTo>
                  <a:cubicBezTo>
                    <a:pt x="8016" y="2472"/>
                    <a:pt x="8016" y="2472"/>
                    <a:pt x="8016" y="2472"/>
                  </a:cubicBezTo>
                  <a:cubicBezTo>
                    <a:pt x="8133" y="2506"/>
                    <a:pt x="8133" y="2506"/>
                    <a:pt x="8133" y="2506"/>
                  </a:cubicBezTo>
                  <a:cubicBezTo>
                    <a:pt x="8283" y="2239"/>
                    <a:pt x="8283" y="2239"/>
                    <a:pt x="8283" y="2239"/>
                  </a:cubicBezTo>
                  <a:cubicBezTo>
                    <a:pt x="8249" y="2188"/>
                    <a:pt x="8249" y="2188"/>
                    <a:pt x="8249" y="2188"/>
                  </a:cubicBezTo>
                  <a:cubicBezTo>
                    <a:pt x="8016" y="2072"/>
                    <a:pt x="8016" y="2072"/>
                    <a:pt x="8016" y="2072"/>
                  </a:cubicBezTo>
                  <a:cubicBezTo>
                    <a:pt x="7866" y="1921"/>
                    <a:pt x="7866" y="1921"/>
                    <a:pt x="7866" y="1921"/>
                  </a:cubicBezTo>
                  <a:cubicBezTo>
                    <a:pt x="7749" y="1838"/>
                    <a:pt x="7749" y="1838"/>
                    <a:pt x="7749" y="1838"/>
                  </a:cubicBezTo>
                  <a:cubicBezTo>
                    <a:pt x="7716" y="1804"/>
                    <a:pt x="7716" y="1804"/>
                    <a:pt x="7716" y="1804"/>
                  </a:cubicBezTo>
                  <a:cubicBezTo>
                    <a:pt x="7633" y="1403"/>
                    <a:pt x="7633" y="1403"/>
                    <a:pt x="7633" y="1403"/>
                  </a:cubicBezTo>
                  <a:cubicBezTo>
                    <a:pt x="7599" y="1052"/>
                    <a:pt x="7599" y="1052"/>
                    <a:pt x="7599" y="1052"/>
                  </a:cubicBezTo>
                  <a:cubicBezTo>
                    <a:pt x="7599" y="902"/>
                    <a:pt x="7599" y="902"/>
                    <a:pt x="7599" y="902"/>
                  </a:cubicBezTo>
                  <a:cubicBezTo>
                    <a:pt x="7533" y="551"/>
                    <a:pt x="7533" y="551"/>
                    <a:pt x="7533" y="551"/>
                  </a:cubicBezTo>
                  <a:cubicBezTo>
                    <a:pt x="7599" y="618"/>
                    <a:pt x="7599" y="618"/>
                    <a:pt x="7599" y="618"/>
                  </a:cubicBezTo>
                  <a:cubicBezTo>
                    <a:pt x="7633" y="668"/>
                    <a:pt x="7633" y="668"/>
                    <a:pt x="7633" y="668"/>
                  </a:cubicBezTo>
                  <a:cubicBezTo>
                    <a:pt x="7633" y="618"/>
                    <a:pt x="7633" y="618"/>
                    <a:pt x="7633" y="618"/>
                  </a:cubicBezTo>
                  <a:cubicBezTo>
                    <a:pt x="7483" y="351"/>
                    <a:pt x="7483" y="351"/>
                    <a:pt x="7483" y="351"/>
                  </a:cubicBezTo>
                  <a:cubicBezTo>
                    <a:pt x="7416" y="117"/>
                    <a:pt x="7416" y="117"/>
                    <a:pt x="7416" y="117"/>
                  </a:cubicBezTo>
                  <a:cubicBezTo>
                    <a:pt x="4749" y="117"/>
                    <a:pt x="4749" y="117"/>
                    <a:pt x="4749" y="117"/>
                  </a:cubicBezTo>
                  <a:cubicBezTo>
                    <a:pt x="4833" y="67"/>
                    <a:pt x="4833" y="67"/>
                    <a:pt x="4833" y="67"/>
                  </a:cubicBezTo>
                  <a:cubicBezTo>
                    <a:pt x="4749" y="0"/>
                    <a:pt x="4749" y="0"/>
                    <a:pt x="4749" y="0"/>
                  </a:cubicBezTo>
                  <a:cubicBezTo>
                    <a:pt x="4666" y="117"/>
                    <a:pt x="4666" y="117"/>
                    <a:pt x="4666" y="117"/>
                  </a:cubicBezTo>
                  <a:cubicBezTo>
                    <a:pt x="1550" y="117"/>
                    <a:pt x="1550" y="117"/>
                    <a:pt x="1550" y="117"/>
                  </a:cubicBezTo>
                  <a:cubicBezTo>
                    <a:pt x="1550" y="1169"/>
                    <a:pt x="1550" y="1169"/>
                    <a:pt x="1550" y="1169"/>
                  </a:cubicBezTo>
                  <a:cubicBezTo>
                    <a:pt x="1050" y="1169"/>
                    <a:pt x="1050" y="1169"/>
                    <a:pt x="1050" y="1169"/>
                  </a:cubicBezTo>
                  <a:cubicBezTo>
                    <a:pt x="1050" y="1453"/>
                    <a:pt x="1050" y="1453"/>
                    <a:pt x="1050" y="1453"/>
                  </a:cubicBezTo>
                  <a:cubicBezTo>
                    <a:pt x="1050" y="3492"/>
                    <a:pt x="1050" y="3492"/>
                    <a:pt x="1050" y="3492"/>
                  </a:cubicBezTo>
                  <a:cubicBezTo>
                    <a:pt x="633" y="3492"/>
                    <a:pt x="633" y="3492"/>
                    <a:pt x="633" y="3492"/>
                  </a:cubicBezTo>
                  <a:cubicBezTo>
                    <a:pt x="566" y="3525"/>
                    <a:pt x="566" y="3525"/>
                    <a:pt x="566" y="3525"/>
                  </a:cubicBezTo>
                  <a:cubicBezTo>
                    <a:pt x="566" y="3642"/>
                    <a:pt x="566" y="3642"/>
                    <a:pt x="566" y="3642"/>
                  </a:cubicBezTo>
                  <a:cubicBezTo>
                    <a:pt x="566" y="3759"/>
                    <a:pt x="566" y="3759"/>
                    <a:pt x="566" y="3759"/>
                  </a:cubicBezTo>
                  <a:cubicBezTo>
                    <a:pt x="416" y="3926"/>
                    <a:pt x="416" y="3926"/>
                    <a:pt x="416" y="3926"/>
                  </a:cubicBezTo>
                  <a:cubicBezTo>
                    <a:pt x="416" y="3993"/>
                    <a:pt x="416" y="3993"/>
                    <a:pt x="416" y="3993"/>
                  </a:cubicBezTo>
                  <a:cubicBezTo>
                    <a:pt x="300" y="4043"/>
                    <a:pt x="300" y="4043"/>
                    <a:pt x="300" y="4043"/>
                  </a:cubicBezTo>
                  <a:cubicBezTo>
                    <a:pt x="366" y="4277"/>
                    <a:pt x="366" y="4277"/>
                    <a:pt x="366" y="4277"/>
                  </a:cubicBezTo>
                  <a:cubicBezTo>
                    <a:pt x="183" y="4394"/>
                    <a:pt x="183" y="4394"/>
                    <a:pt x="183" y="4394"/>
                  </a:cubicBezTo>
                  <a:cubicBezTo>
                    <a:pt x="150" y="4477"/>
                    <a:pt x="150" y="4477"/>
                    <a:pt x="150" y="4477"/>
                  </a:cubicBezTo>
                  <a:cubicBezTo>
                    <a:pt x="266" y="4661"/>
                    <a:pt x="266" y="4661"/>
                    <a:pt x="266" y="4661"/>
                  </a:cubicBezTo>
                  <a:cubicBezTo>
                    <a:pt x="100" y="4828"/>
                    <a:pt x="100" y="4828"/>
                    <a:pt x="100" y="4828"/>
                  </a:cubicBezTo>
                  <a:cubicBezTo>
                    <a:pt x="0" y="4978"/>
                    <a:pt x="0" y="4978"/>
                    <a:pt x="0" y="4978"/>
                  </a:cubicBezTo>
                  <a:cubicBezTo>
                    <a:pt x="100" y="5062"/>
                    <a:pt x="100" y="5062"/>
                    <a:pt x="100" y="5062"/>
                  </a:cubicBezTo>
                  <a:cubicBezTo>
                    <a:pt x="150" y="5062"/>
                    <a:pt x="150" y="5062"/>
                    <a:pt x="150" y="5062"/>
                  </a:cubicBezTo>
                  <a:cubicBezTo>
                    <a:pt x="183" y="4978"/>
                    <a:pt x="183" y="4978"/>
                    <a:pt x="183" y="4978"/>
                  </a:cubicBezTo>
                  <a:cubicBezTo>
                    <a:pt x="300" y="5062"/>
                    <a:pt x="300" y="5062"/>
                    <a:pt x="300" y="5062"/>
                  </a:cubicBezTo>
                  <a:cubicBezTo>
                    <a:pt x="300" y="5179"/>
                    <a:pt x="300" y="5179"/>
                    <a:pt x="300" y="5179"/>
                  </a:cubicBezTo>
                  <a:cubicBezTo>
                    <a:pt x="416" y="5379"/>
                    <a:pt x="416" y="5379"/>
                    <a:pt x="416" y="5379"/>
                  </a:cubicBezTo>
                  <a:cubicBezTo>
                    <a:pt x="366" y="5613"/>
                    <a:pt x="366" y="5613"/>
                    <a:pt x="366" y="5613"/>
                  </a:cubicBezTo>
                  <a:cubicBezTo>
                    <a:pt x="483" y="5647"/>
                    <a:pt x="483" y="5647"/>
                    <a:pt x="483" y="5647"/>
                  </a:cubicBezTo>
                  <a:cubicBezTo>
                    <a:pt x="533" y="5647"/>
                    <a:pt x="533" y="5647"/>
                    <a:pt x="533" y="5647"/>
                  </a:cubicBezTo>
                  <a:cubicBezTo>
                    <a:pt x="566" y="5764"/>
                    <a:pt x="566" y="5764"/>
                    <a:pt x="566" y="5764"/>
                  </a:cubicBezTo>
                  <a:cubicBezTo>
                    <a:pt x="533" y="5964"/>
                    <a:pt x="533" y="5964"/>
                    <a:pt x="533" y="5964"/>
                  </a:cubicBezTo>
                  <a:cubicBezTo>
                    <a:pt x="750" y="6164"/>
                    <a:pt x="750" y="6164"/>
                    <a:pt x="750" y="6164"/>
                  </a:cubicBezTo>
                  <a:cubicBezTo>
                    <a:pt x="900" y="6515"/>
                    <a:pt x="900" y="6515"/>
                    <a:pt x="900" y="6515"/>
                  </a:cubicBezTo>
                  <a:cubicBezTo>
                    <a:pt x="900" y="6783"/>
                    <a:pt x="900" y="6783"/>
                    <a:pt x="900" y="6783"/>
                  </a:cubicBezTo>
                  <a:cubicBezTo>
                    <a:pt x="866" y="6833"/>
                    <a:pt x="866" y="6833"/>
                    <a:pt x="866" y="6833"/>
                  </a:cubicBezTo>
                  <a:cubicBezTo>
                    <a:pt x="783" y="6900"/>
                    <a:pt x="783" y="6900"/>
                    <a:pt x="783" y="6900"/>
                  </a:cubicBezTo>
                  <a:cubicBezTo>
                    <a:pt x="866" y="6950"/>
                    <a:pt x="866" y="6950"/>
                    <a:pt x="866" y="6950"/>
                  </a:cubicBezTo>
                  <a:cubicBezTo>
                    <a:pt x="866" y="7067"/>
                    <a:pt x="866" y="7067"/>
                    <a:pt x="866" y="7067"/>
                  </a:cubicBezTo>
                  <a:cubicBezTo>
                    <a:pt x="1116" y="7067"/>
                    <a:pt x="1116" y="7067"/>
                    <a:pt x="1116" y="7067"/>
                  </a:cubicBezTo>
                  <a:cubicBezTo>
                    <a:pt x="1116" y="7067"/>
                    <a:pt x="1116" y="7067"/>
                    <a:pt x="1116" y="7067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73" name="Freeform 59">
              <a:extLst>
                <a:ext uri="{FF2B5EF4-FFF2-40B4-BE49-F238E27FC236}">
                  <a16:creationId xmlns:a16="http://schemas.microsoft.com/office/drawing/2014/main" id="{775C6540-A2F5-4E44-943B-BC3E24C5AE6F}"/>
                </a:ext>
              </a:extLst>
            </p:cNvPr>
            <p:cNvSpPr>
              <a:spLocks/>
            </p:cNvSpPr>
            <p:nvPr/>
          </p:nvSpPr>
          <p:spPr bwMode="gray">
            <a:xfrm>
              <a:off x="7077855" y="4759622"/>
              <a:ext cx="433672" cy="353809"/>
            </a:xfrm>
            <a:custGeom>
              <a:avLst/>
              <a:gdLst>
                <a:gd name="T0" fmla="*/ 5650 w 5884"/>
                <a:gd name="T1" fmla="*/ 3782 h 4799"/>
                <a:gd name="T2" fmla="*/ 5534 w 5884"/>
                <a:gd name="T3" fmla="*/ 3782 h 4799"/>
                <a:gd name="T4" fmla="*/ 5384 w 5884"/>
                <a:gd name="T5" fmla="*/ 3499 h 4799"/>
                <a:gd name="T6" fmla="*/ 5150 w 5884"/>
                <a:gd name="T7" fmla="*/ 3116 h 4799"/>
                <a:gd name="T8" fmla="*/ 5000 w 5884"/>
                <a:gd name="T9" fmla="*/ 2999 h 4799"/>
                <a:gd name="T10" fmla="*/ 4617 w 5884"/>
                <a:gd name="T11" fmla="*/ 2599 h 4799"/>
                <a:gd name="T12" fmla="*/ 4400 w 5884"/>
                <a:gd name="T13" fmla="*/ 2483 h 4799"/>
                <a:gd name="T14" fmla="*/ 4500 w 5884"/>
                <a:gd name="T15" fmla="*/ 2249 h 4799"/>
                <a:gd name="T16" fmla="*/ 4767 w 5884"/>
                <a:gd name="T17" fmla="*/ 2249 h 4799"/>
                <a:gd name="T18" fmla="*/ 4967 w 5884"/>
                <a:gd name="T19" fmla="*/ 1700 h 4799"/>
                <a:gd name="T20" fmla="*/ 5084 w 5884"/>
                <a:gd name="T21" fmla="*/ 1150 h 4799"/>
                <a:gd name="T22" fmla="*/ 5084 w 5884"/>
                <a:gd name="T23" fmla="*/ 1116 h 4799"/>
                <a:gd name="T24" fmla="*/ 4750 w 5884"/>
                <a:gd name="T25" fmla="*/ 1050 h 4799"/>
                <a:gd name="T26" fmla="*/ 4500 w 5884"/>
                <a:gd name="T27" fmla="*/ 0 h 4799"/>
                <a:gd name="T28" fmla="*/ 4234 w 5884"/>
                <a:gd name="T29" fmla="*/ 283 h 4799"/>
                <a:gd name="T30" fmla="*/ 4300 w 5884"/>
                <a:gd name="T31" fmla="*/ 750 h 4799"/>
                <a:gd name="T32" fmla="*/ 3567 w 5884"/>
                <a:gd name="T33" fmla="*/ 1450 h 4799"/>
                <a:gd name="T34" fmla="*/ 2850 w 5884"/>
                <a:gd name="T35" fmla="*/ 1216 h 4799"/>
                <a:gd name="T36" fmla="*/ 2584 w 5884"/>
                <a:gd name="T37" fmla="*/ 1450 h 4799"/>
                <a:gd name="T38" fmla="*/ 1984 w 5884"/>
                <a:gd name="T39" fmla="*/ 1633 h 4799"/>
                <a:gd name="T40" fmla="*/ 1134 w 5884"/>
                <a:gd name="T41" fmla="*/ 1566 h 4799"/>
                <a:gd name="T42" fmla="*/ 467 w 5884"/>
                <a:gd name="T43" fmla="*/ 1166 h 4799"/>
                <a:gd name="T44" fmla="*/ 0 w 5884"/>
                <a:gd name="T45" fmla="*/ 2099 h 4799"/>
                <a:gd name="T46" fmla="*/ 134 w 5884"/>
                <a:gd name="T47" fmla="*/ 2166 h 4799"/>
                <a:gd name="T48" fmla="*/ 50 w 5884"/>
                <a:gd name="T49" fmla="*/ 2333 h 4799"/>
                <a:gd name="T50" fmla="*/ 517 w 5884"/>
                <a:gd name="T51" fmla="*/ 2566 h 4799"/>
                <a:gd name="T52" fmla="*/ 584 w 5884"/>
                <a:gd name="T53" fmla="*/ 2649 h 4799"/>
                <a:gd name="T54" fmla="*/ 934 w 5884"/>
                <a:gd name="T55" fmla="*/ 2999 h 4799"/>
                <a:gd name="T56" fmla="*/ 1167 w 5884"/>
                <a:gd name="T57" fmla="*/ 3149 h 4799"/>
                <a:gd name="T58" fmla="*/ 1200 w 5884"/>
                <a:gd name="T59" fmla="*/ 3382 h 4799"/>
                <a:gd name="T60" fmla="*/ 1350 w 5884"/>
                <a:gd name="T61" fmla="*/ 3499 h 4799"/>
                <a:gd name="T62" fmla="*/ 1584 w 5884"/>
                <a:gd name="T63" fmla="*/ 3732 h 4799"/>
                <a:gd name="T64" fmla="*/ 1700 w 5884"/>
                <a:gd name="T65" fmla="*/ 4016 h 4799"/>
                <a:gd name="T66" fmla="*/ 1850 w 5884"/>
                <a:gd name="T67" fmla="*/ 4216 h 4799"/>
                <a:gd name="T68" fmla="*/ 2334 w 5884"/>
                <a:gd name="T69" fmla="*/ 4216 h 4799"/>
                <a:gd name="T70" fmla="*/ 2684 w 5884"/>
                <a:gd name="T71" fmla="*/ 4166 h 4799"/>
                <a:gd name="T72" fmla="*/ 2834 w 5884"/>
                <a:gd name="T73" fmla="*/ 4216 h 4799"/>
                <a:gd name="T74" fmla="*/ 2984 w 5884"/>
                <a:gd name="T75" fmla="*/ 4449 h 4799"/>
                <a:gd name="T76" fmla="*/ 3217 w 5884"/>
                <a:gd name="T77" fmla="*/ 4565 h 4799"/>
                <a:gd name="T78" fmla="*/ 3334 w 5884"/>
                <a:gd name="T79" fmla="*/ 4682 h 4799"/>
                <a:gd name="T80" fmla="*/ 3450 w 5884"/>
                <a:gd name="T81" fmla="*/ 4682 h 4799"/>
                <a:gd name="T82" fmla="*/ 3717 w 5884"/>
                <a:gd name="T83" fmla="*/ 4682 h 4799"/>
                <a:gd name="T84" fmla="*/ 3867 w 5884"/>
                <a:gd name="T85" fmla="*/ 4715 h 4799"/>
                <a:gd name="T86" fmla="*/ 4017 w 5884"/>
                <a:gd name="T87" fmla="*/ 4715 h 4799"/>
                <a:gd name="T88" fmla="*/ 4234 w 5884"/>
                <a:gd name="T89" fmla="*/ 4599 h 4799"/>
                <a:gd name="T90" fmla="*/ 4500 w 5884"/>
                <a:gd name="T91" fmla="*/ 4599 h 4799"/>
                <a:gd name="T92" fmla="*/ 4884 w 5884"/>
                <a:gd name="T93" fmla="*/ 4399 h 4799"/>
                <a:gd name="T94" fmla="*/ 5884 w 5884"/>
                <a:gd name="T95" fmla="*/ 4216 h 4799"/>
                <a:gd name="T96" fmla="*/ 5834 w 5884"/>
                <a:gd name="T97" fmla="*/ 3816 h 4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84" h="4799">
                  <a:moveTo>
                    <a:pt x="5834" y="3816"/>
                  </a:moveTo>
                  <a:cubicBezTo>
                    <a:pt x="5650" y="3782"/>
                    <a:pt x="5650" y="3782"/>
                    <a:pt x="5650" y="3782"/>
                  </a:cubicBezTo>
                  <a:cubicBezTo>
                    <a:pt x="5534" y="3816"/>
                    <a:pt x="5534" y="3816"/>
                    <a:pt x="5534" y="3816"/>
                  </a:cubicBezTo>
                  <a:cubicBezTo>
                    <a:pt x="5534" y="3782"/>
                    <a:pt x="5534" y="3782"/>
                    <a:pt x="5534" y="3782"/>
                  </a:cubicBezTo>
                  <a:cubicBezTo>
                    <a:pt x="5467" y="3666"/>
                    <a:pt x="5467" y="3666"/>
                    <a:pt x="5467" y="3666"/>
                  </a:cubicBezTo>
                  <a:cubicBezTo>
                    <a:pt x="5384" y="3499"/>
                    <a:pt x="5384" y="3499"/>
                    <a:pt x="5384" y="3499"/>
                  </a:cubicBezTo>
                  <a:cubicBezTo>
                    <a:pt x="5267" y="3149"/>
                    <a:pt x="5267" y="3149"/>
                    <a:pt x="5267" y="3149"/>
                  </a:cubicBezTo>
                  <a:cubicBezTo>
                    <a:pt x="5150" y="3116"/>
                    <a:pt x="5150" y="3116"/>
                    <a:pt x="5150" y="3116"/>
                  </a:cubicBezTo>
                  <a:cubicBezTo>
                    <a:pt x="5117" y="3033"/>
                    <a:pt x="5117" y="3033"/>
                    <a:pt x="5117" y="3033"/>
                  </a:cubicBezTo>
                  <a:cubicBezTo>
                    <a:pt x="5000" y="2999"/>
                    <a:pt x="5000" y="2999"/>
                    <a:pt x="5000" y="2999"/>
                  </a:cubicBezTo>
                  <a:cubicBezTo>
                    <a:pt x="4850" y="2716"/>
                    <a:pt x="4850" y="2716"/>
                    <a:pt x="4850" y="2716"/>
                  </a:cubicBezTo>
                  <a:cubicBezTo>
                    <a:pt x="4617" y="2599"/>
                    <a:pt x="4617" y="2599"/>
                    <a:pt x="4617" y="2599"/>
                  </a:cubicBezTo>
                  <a:cubicBezTo>
                    <a:pt x="4400" y="2599"/>
                    <a:pt x="4400" y="2599"/>
                    <a:pt x="4400" y="2599"/>
                  </a:cubicBezTo>
                  <a:cubicBezTo>
                    <a:pt x="4400" y="2483"/>
                    <a:pt x="4400" y="2483"/>
                    <a:pt x="4400" y="2483"/>
                  </a:cubicBezTo>
                  <a:cubicBezTo>
                    <a:pt x="4500" y="2366"/>
                    <a:pt x="4500" y="2366"/>
                    <a:pt x="4500" y="2366"/>
                  </a:cubicBezTo>
                  <a:cubicBezTo>
                    <a:pt x="4500" y="2249"/>
                    <a:pt x="4500" y="2249"/>
                    <a:pt x="4500" y="2249"/>
                  </a:cubicBezTo>
                  <a:cubicBezTo>
                    <a:pt x="4734" y="2216"/>
                    <a:pt x="4734" y="2216"/>
                    <a:pt x="4734" y="2216"/>
                  </a:cubicBezTo>
                  <a:cubicBezTo>
                    <a:pt x="4767" y="2249"/>
                    <a:pt x="4767" y="2249"/>
                    <a:pt x="4767" y="2249"/>
                  </a:cubicBezTo>
                  <a:cubicBezTo>
                    <a:pt x="4967" y="2166"/>
                    <a:pt x="4967" y="2166"/>
                    <a:pt x="4967" y="2166"/>
                  </a:cubicBezTo>
                  <a:cubicBezTo>
                    <a:pt x="4967" y="1700"/>
                    <a:pt x="4967" y="1700"/>
                    <a:pt x="4967" y="1700"/>
                  </a:cubicBezTo>
                  <a:cubicBezTo>
                    <a:pt x="5084" y="1316"/>
                    <a:pt x="5084" y="1316"/>
                    <a:pt x="5084" y="1316"/>
                  </a:cubicBezTo>
                  <a:cubicBezTo>
                    <a:pt x="5084" y="1150"/>
                    <a:pt x="5084" y="1150"/>
                    <a:pt x="5084" y="1150"/>
                  </a:cubicBezTo>
                  <a:cubicBezTo>
                    <a:pt x="5134" y="1100"/>
                    <a:pt x="5134" y="1100"/>
                    <a:pt x="5134" y="1100"/>
                  </a:cubicBezTo>
                  <a:cubicBezTo>
                    <a:pt x="5084" y="1116"/>
                    <a:pt x="5084" y="1116"/>
                    <a:pt x="5084" y="1116"/>
                  </a:cubicBezTo>
                  <a:cubicBezTo>
                    <a:pt x="5084" y="1100"/>
                    <a:pt x="5084" y="1100"/>
                    <a:pt x="5084" y="1100"/>
                  </a:cubicBezTo>
                  <a:cubicBezTo>
                    <a:pt x="4750" y="1050"/>
                    <a:pt x="4750" y="1050"/>
                    <a:pt x="4750" y="1050"/>
                  </a:cubicBezTo>
                  <a:cubicBezTo>
                    <a:pt x="4750" y="0"/>
                    <a:pt x="4750" y="0"/>
                    <a:pt x="4750" y="0"/>
                  </a:cubicBezTo>
                  <a:cubicBezTo>
                    <a:pt x="4500" y="0"/>
                    <a:pt x="4500" y="0"/>
                    <a:pt x="4500" y="0"/>
                  </a:cubicBezTo>
                  <a:cubicBezTo>
                    <a:pt x="4500" y="233"/>
                    <a:pt x="4500" y="233"/>
                    <a:pt x="4500" y="233"/>
                  </a:cubicBezTo>
                  <a:cubicBezTo>
                    <a:pt x="4234" y="283"/>
                    <a:pt x="4234" y="283"/>
                    <a:pt x="4234" y="283"/>
                  </a:cubicBezTo>
                  <a:cubicBezTo>
                    <a:pt x="4300" y="283"/>
                    <a:pt x="4300" y="283"/>
                    <a:pt x="4300" y="283"/>
                  </a:cubicBezTo>
                  <a:cubicBezTo>
                    <a:pt x="4300" y="750"/>
                    <a:pt x="4300" y="750"/>
                    <a:pt x="4300" y="750"/>
                  </a:cubicBezTo>
                  <a:cubicBezTo>
                    <a:pt x="3700" y="1450"/>
                    <a:pt x="3700" y="1450"/>
                    <a:pt x="3700" y="1450"/>
                  </a:cubicBezTo>
                  <a:cubicBezTo>
                    <a:pt x="3567" y="1450"/>
                    <a:pt x="3567" y="1450"/>
                    <a:pt x="3567" y="1450"/>
                  </a:cubicBezTo>
                  <a:cubicBezTo>
                    <a:pt x="3167" y="1100"/>
                    <a:pt x="3167" y="1100"/>
                    <a:pt x="3167" y="1100"/>
                  </a:cubicBezTo>
                  <a:cubicBezTo>
                    <a:pt x="2850" y="1216"/>
                    <a:pt x="2850" y="1216"/>
                    <a:pt x="2850" y="1216"/>
                  </a:cubicBezTo>
                  <a:cubicBezTo>
                    <a:pt x="2850" y="1450"/>
                    <a:pt x="2850" y="1450"/>
                    <a:pt x="2850" y="1450"/>
                  </a:cubicBezTo>
                  <a:cubicBezTo>
                    <a:pt x="2584" y="1450"/>
                    <a:pt x="2584" y="1450"/>
                    <a:pt x="2584" y="1450"/>
                  </a:cubicBezTo>
                  <a:cubicBezTo>
                    <a:pt x="2384" y="1633"/>
                    <a:pt x="2384" y="1633"/>
                    <a:pt x="2384" y="1633"/>
                  </a:cubicBezTo>
                  <a:cubicBezTo>
                    <a:pt x="1984" y="1633"/>
                    <a:pt x="1984" y="1633"/>
                    <a:pt x="1984" y="1633"/>
                  </a:cubicBezTo>
                  <a:cubicBezTo>
                    <a:pt x="1984" y="1450"/>
                    <a:pt x="1984" y="1450"/>
                    <a:pt x="1984" y="1450"/>
                  </a:cubicBezTo>
                  <a:cubicBezTo>
                    <a:pt x="1134" y="1566"/>
                    <a:pt x="1134" y="1566"/>
                    <a:pt x="1134" y="1566"/>
                  </a:cubicBezTo>
                  <a:cubicBezTo>
                    <a:pt x="867" y="1216"/>
                    <a:pt x="867" y="1216"/>
                    <a:pt x="867" y="1216"/>
                  </a:cubicBezTo>
                  <a:cubicBezTo>
                    <a:pt x="467" y="1166"/>
                    <a:pt x="467" y="1166"/>
                    <a:pt x="467" y="1166"/>
                  </a:cubicBezTo>
                  <a:cubicBezTo>
                    <a:pt x="0" y="2099"/>
                    <a:pt x="0" y="2099"/>
                    <a:pt x="0" y="2099"/>
                  </a:cubicBezTo>
                  <a:cubicBezTo>
                    <a:pt x="0" y="2099"/>
                    <a:pt x="0" y="2099"/>
                    <a:pt x="0" y="2099"/>
                  </a:cubicBezTo>
                  <a:cubicBezTo>
                    <a:pt x="50" y="2099"/>
                    <a:pt x="50" y="2099"/>
                    <a:pt x="50" y="2099"/>
                  </a:cubicBezTo>
                  <a:cubicBezTo>
                    <a:pt x="134" y="2166"/>
                    <a:pt x="134" y="2166"/>
                    <a:pt x="134" y="2166"/>
                  </a:cubicBezTo>
                  <a:cubicBezTo>
                    <a:pt x="50" y="2216"/>
                    <a:pt x="50" y="2216"/>
                    <a:pt x="50" y="2216"/>
                  </a:cubicBezTo>
                  <a:cubicBezTo>
                    <a:pt x="50" y="2333"/>
                    <a:pt x="50" y="2333"/>
                    <a:pt x="50" y="2333"/>
                  </a:cubicBezTo>
                  <a:cubicBezTo>
                    <a:pt x="317" y="2366"/>
                    <a:pt x="317" y="2366"/>
                    <a:pt x="317" y="2366"/>
                  </a:cubicBezTo>
                  <a:cubicBezTo>
                    <a:pt x="517" y="2566"/>
                    <a:pt x="517" y="2566"/>
                    <a:pt x="517" y="2566"/>
                  </a:cubicBezTo>
                  <a:cubicBezTo>
                    <a:pt x="584" y="2566"/>
                    <a:pt x="584" y="2566"/>
                    <a:pt x="584" y="2566"/>
                  </a:cubicBezTo>
                  <a:cubicBezTo>
                    <a:pt x="584" y="2649"/>
                    <a:pt x="584" y="2649"/>
                    <a:pt x="584" y="2649"/>
                  </a:cubicBezTo>
                  <a:cubicBezTo>
                    <a:pt x="550" y="2716"/>
                    <a:pt x="550" y="2716"/>
                    <a:pt x="550" y="2716"/>
                  </a:cubicBezTo>
                  <a:cubicBezTo>
                    <a:pt x="934" y="2999"/>
                    <a:pt x="934" y="2999"/>
                    <a:pt x="934" y="2999"/>
                  </a:cubicBezTo>
                  <a:cubicBezTo>
                    <a:pt x="967" y="3033"/>
                    <a:pt x="967" y="3033"/>
                    <a:pt x="967" y="3033"/>
                  </a:cubicBezTo>
                  <a:cubicBezTo>
                    <a:pt x="1167" y="3149"/>
                    <a:pt x="1167" y="3149"/>
                    <a:pt x="1167" y="3149"/>
                  </a:cubicBezTo>
                  <a:cubicBezTo>
                    <a:pt x="1084" y="3266"/>
                    <a:pt x="1084" y="3266"/>
                    <a:pt x="1084" y="3266"/>
                  </a:cubicBezTo>
                  <a:cubicBezTo>
                    <a:pt x="1200" y="3382"/>
                    <a:pt x="1200" y="3382"/>
                    <a:pt x="1200" y="3382"/>
                  </a:cubicBezTo>
                  <a:cubicBezTo>
                    <a:pt x="1167" y="3432"/>
                    <a:pt x="1167" y="3432"/>
                    <a:pt x="1167" y="3432"/>
                  </a:cubicBezTo>
                  <a:cubicBezTo>
                    <a:pt x="1350" y="3499"/>
                    <a:pt x="1350" y="3499"/>
                    <a:pt x="1350" y="3499"/>
                  </a:cubicBezTo>
                  <a:cubicBezTo>
                    <a:pt x="1534" y="3616"/>
                    <a:pt x="1534" y="3616"/>
                    <a:pt x="1534" y="3616"/>
                  </a:cubicBezTo>
                  <a:cubicBezTo>
                    <a:pt x="1584" y="3732"/>
                    <a:pt x="1584" y="3732"/>
                    <a:pt x="1584" y="3732"/>
                  </a:cubicBezTo>
                  <a:cubicBezTo>
                    <a:pt x="1584" y="3816"/>
                    <a:pt x="1584" y="3816"/>
                    <a:pt x="1584" y="3816"/>
                  </a:cubicBezTo>
                  <a:cubicBezTo>
                    <a:pt x="1700" y="4016"/>
                    <a:pt x="1700" y="4016"/>
                    <a:pt x="1700" y="4016"/>
                  </a:cubicBezTo>
                  <a:cubicBezTo>
                    <a:pt x="1800" y="4132"/>
                    <a:pt x="1800" y="4132"/>
                    <a:pt x="1800" y="4132"/>
                  </a:cubicBezTo>
                  <a:cubicBezTo>
                    <a:pt x="1850" y="4216"/>
                    <a:pt x="1850" y="4216"/>
                    <a:pt x="1850" y="4216"/>
                  </a:cubicBezTo>
                  <a:cubicBezTo>
                    <a:pt x="2117" y="4399"/>
                    <a:pt x="2117" y="4399"/>
                    <a:pt x="2117" y="4399"/>
                  </a:cubicBezTo>
                  <a:cubicBezTo>
                    <a:pt x="2334" y="4216"/>
                    <a:pt x="2334" y="4216"/>
                    <a:pt x="2334" y="4216"/>
                  </a:cubicBezTo>
                  <a:cubicBezTo>
                    <a:pt x="2567" y="4332"/>
                    <a:pt x="2567" y="4332"/>
                    <a:pt x="2567" y="4332"/>
                  </a:cubicBezTo>
                  <a:cubicBezTo>
                    <a:pt x="2684" y="4166"/>
                    <a:pt x="2684" y="4166"/>
                    <a:pt x="2684" y="4166"/>
                  </a:cubicBezTo>
                  <a:cubicBezTo>
                    <a:pt x="2717" y="4166"/>
                    <a:pt x="2717" y="4166"/>
                    <a:pt x="2717" y="4166"/>
                  </a:cubicBezTo>
                  <a:cubicBezTo>
                    <a:pt x="2834" y="4216"/>
                    <a:pt x="2834" y="4216"/>
                    <a:pt x="2834" y="4216"/>
                  </a:cubicBezTo>
                  <a:cubicBezTo>
                    <a:pt x="2834" y="4332"/>
                    <a:pt x="2834" y="4332"/>
                    <a:pt x="2834" y="4332"/>
                  </a:cubicBezTo>
                  <a:cubicBezTo>
                    <a:pt x="2984" y="4449"/>
                    <a:pt x="2984" y="4449"/>
                    <a:pt x="2984" y="4449"/>
                  </a:cubicBezTo>
                  <a:cubicBezTo>
                    <a:pt x="3067" y="4565"/>
                    <a:pt x="3067" y="4565"/>
                    <a:pt x="3067" y="4565"/>
                  </a:cubicBezTo>
                  <a:cubicBezTo>
                    <a:pt x="3217" y="4565"/>
                    <a:pt x="3217" y="4565"/>
                    <a:pt x="3217" y="4565"/>
                  </a:cubicBezTo>
                  <a:cubicBezTo>
                    <a:pt x="3217" y="4715"/>
                    <a:pt x="3217" y="4715"/>
                    <a:pt x="3217" y="4715"/>
                  </a:cubicBezTo>
                  <a:cubicBezTo>
                    <a:pt x="3334" y="4682"/>
                    <a:pt x="3334" y="4682"/>
                    <a:pt x="3334" y="4682"/>
                  </a:cubicBezTo>
                  <a:cubicBezTo>
                    <a:pt x="3367" y="4799"/>
                    <a:pt x="3367" y="4799"/>
                    <a:pt x="3367" y="4799"/>
                  </a:cubicBezTo>
                  <a:cubicBezTo>
                    <a:pt x="3450" y="4682"/>
                    <a:pt x="3450" y="4682"/>
                    <a:pt x="3450" y="4682"/>
                  </a:cubicBezTo>
                  <a:cubicBezTo>
                    <a:pt x="3484" y="4599"/>
                    <a:pt x="3484" y="4599"/>
                    <a:pt x="3484" y="4599"/>
                  </a:cubicBezTo>
                  <a:cubicBezTo>
                    <a:pt x="3717" y="4682"/>
                    <a:pt x="3717" y="4682"/>
                    <a:pt x="3717" y="4682"/>
                  </a:cubicBezTo>
                  <a:cubicBezTo>
                    <a:pt x="3817" y="4599"/>
                    <a:pt x="3817" y="4599"/>
                    <a:pt x="3817" y="4599"/>
                  </a:cubicBezTo>
                  <a:cubicBezTo>
                    <a:pt x="3867" y="4715"/>
                    <a:pt x="3867" y="4715"/>
                    <a:pt x="3867" y="4715"/>
                  </a:cubicBezTo>
                  <a:cubicBezTo>
                    <a:pt x="4017" y="4799"/>
                    <a:pt x="4017" y="4799"/>
                    <a:pt x="4017" y="4799"/>
                  </a:cubicBezTo>
                  <a:cubicBezTo>
                    <a:pt x="4017" y="4715"/>
                    <a:pt x="4017" y="4715"/>
                    <a:pt x="4017" y="4715"/>
                  </a:cubicBezTo>
                  <a:cubicBezTo>
                    <a:pt x="4134" y="4682"/>
                    <a:pt x="4134" y="4682"/>
                    <a:pt x="4134" y="4682"/>
                  </a:cubicBezTo>
                  <a:cubicBezTo>
                    <a:pt x="4234" y="4599"/>
                    <a:pt x="4234" y="4599"/>
                    <a:pt x="4234" y="4599"/>
                  </a:cubicBezTo>
                  <a:cubicBezTo>
                    <a:pt x="4400" y="4565"/>
                    <a:pt x="4400" y="4565"/>
                    <a:pt x="4400" y="4565"/>
                  </a:cubicBezTo>
                  <a:cubicBezTo>
                    <a:pt x="4500" y="4599"/>
                    <a:pt x="4500" y="4599"/>
                    <a:pt x="4500" y="4599"/>
                  </a:cubicBezTo>
                  <a:cubicBezTo>
                    <a:pt x="4700" y="4599"/>
                    <a:pt x="4700" y="4599"/>
                    <a:pt x="4700" y="4599"/>
                  </a:cubicBezTo>
                  <a:cubicBezTo>
                    <a:pt x="4884" y="4399"/>
                    <a:pt x="4884" y="4399"/>
                    <a:pt x="4884" y="4399"/>
                  </a:cubicBezTo>
                  <a:cubicBezTo>
                    <a:pt x="5117" y="4216"/>
                    <a:pt x="5117" y="4216"/>
                    <a:pt x="5117" y="4216"/>
                  </a:cubicBezTo>
                  <a:cubicBezTo>
                    <a:pt x="5884" y="4216"/>
                    <a:pt x="5884" y="4216"/>
                    <a:pt x="5884" y="4216"/>
                  </a:cubicBezTo>
                  <a:cubicBezTo>
                    <a:pt x="5767" y="4132"/>
                    <a:pt x="5767" y="4132"/>
                    <a:pt x="5767" y="4132"/>
                  </a:cubicBezTo>
                  <a:cubicBezTo>
                    <a:pt x="5834" y="3816"/>
                    <a:pt x="5834" y="3816"/>
                    <a:pt x="5834" y="3816"/>
                  </a:cubicBezTo>
                  <a:cubicBezTo>
                    <a:pt x="5834" y="3816"/>
                    <a:pt x="5834" y="3816"/>
                    <a:pt x="5834" y="3816"/>
                  </a:cubicBez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de-DE"/>
            </a:p>
          </p:txBody>
        </p:sp>
      </p:grp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7D74213D-07D1-499A-AE54-51A7FDD9C3AD}"/>
              </a:ext>
            </a:extLst>
          </p:cNvPr>
          <p:cNvCxnSpPr/>
          <p:nvPr/>
        </p:nvCxnSpPr>
        <p:spPr>
          <a:xfrm>
            <a:off x="550863" y="1872000"/>
            <a:ext cx="18000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A67C2FFD-A621-4BF4-87E2-20DF662B6234}"/>
              </a:ext>
            </a:extLst>
          </p:cNvPr>
          <p:cNvCxnSpPr/>
          <p:nvPr/>
        </p:nvCxnSpPr>
        <p:spPr>
          <a:xfrm>
            <a:off x="2873439" y="1872000"/>
            <a:ext cx="18000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6CEA7B52-A3CF-417F-8D3E-67F31CF361DB}"/>
              </a:ext>
            </a:extLst>
          </p:cNvPr>
          <p:cNvCxnSpPr/>
          <p:nvPr/>
        </p:nvCxnSpPr>
        <p:spPr>
          <a:xfrm>
            <a:off x="5196015" y="1872000"/>
            <a:ext cx="180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7DCF1280-CF68-44AC-A8DA-C3A2C03AA636}"/>
              </a:ext>
            </a:extLst>
          </p:cNvPr>
          <p:cNvCxnSpPr/>
          <p:nvPr/>
        </p:nvCxnSpPr>
        <p:spPr>
          <a:xfrm>
            <a:off x="9841167" y="1872000"/>
            <a:ext cx="1800000" cy="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C3F66067-8C8A-41DA-81C8-80A9A94A6D5A}"/>
              </a:ext>
            </a:extLst>
          </p:cNvPr>
          <p:cNvCxnSpPr/>
          <p:nvPr/>
        </p:nvCxnSpPr>
        <p:spPr>
          <a:xfrm>
            <a:off x="7518591" y="1872000"/>
            <a:ext cx="18000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9" name="Group 78">
            <a:extLst>
              <a:ext uri="{FF2B5EF4-FFF2-40B4-BE49-F238E27FC236}">
                <a16:creationId xmlns:a16="http://schemas.microsoft.com/office/drawing/2014/main" id="{0F5725CE-3297-4785-8799-23598094B1BA}"/>
              </a:ext>
            </a:extLst>
          </p:cNvPr>
          <p:cNvGrpSpPr/>
          <p:nvPr/>
        </p:nvGrpSpPr>
        <p:grpSpPr>
          <a:xfrm>
            <a:off x="2616464" y="1512001"/>
            <a:ext cx="6959070" cy="1927728"/>
            <a:chOff x="2616464" y="1512000"/>
            <a:chExt cx="6959070" cy="4653850"/>
          </a:xfrm>
        </p:grpSpPr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D5F4B746-F33E-4BCE-88DC-27CD712698F5}"/>
                </a:ext>
              </a:extLst>
            </p:cNvPr>
            <p:cNvCxnSpPr/>
            <p:nvPr/>
          </p:nvCxnSpPr>
          <p:spPr>
            <a:xfrm>
              <a:off x="2616464" y="1512000"/>
              <a:ext cx="0" cy="4653850"/>
            </a:xfrm>
            <a:prstGeom prst="line">
              <a:avLst/>
            </a:prstGeom>
            <a:ln w="762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87368582-BA5C-438E-AFC1-EFEF3074936A}"/>
                </a:ext>
              </a:extLst>
            </p:cNvPr>
            <p:cNvCxnSpPr/>
            <p:nvPr/>
          </p:nvCxnSpPr>
          <p:spPr>
            <a:xfrm>
              <a:off x="4936154" y="1512000"/>
              <a:ext cx="0" cy="4653850"/>
            </a:xfrm>
            <a:prstGeom prst="line">
              <a:avLst/>
            </a:prstGeom>
            <a:ln w="762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3C3C3F81-0929-4D47-9B8F-AB03E2702367}"/>
                </a:ext>
              </a:extLst>
            </p:cNvPr>
            <p:cNvCxnSpPr/>
            <p:nvPr/>
          </p:nvCxnSpPr>
          <p:spPr>
            <a:xfrm>
              <a:off x="7255844" y="1512000"/>
              <a:ext cx="0" cy="4653850"/>
            </a:xfrm>
            <a:prstGeom prst="line">
              <a:avLst/>
            </a:prstGeom>
            <a:ln w="762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2CF7884A-75BF-4857-BF48-EBBF41BE5534}"/>
                </a:ext>
              </a:extLst>
            </p:cNvPr>
            <p:cNvCxnSpPr/>
            <p:nvPr/>
          </p:nvCxnSpPr>
          <p:spPr>
            <a:xfrm>
              <a:off x="9575534" y="1512000"/>
              <a:ext cx="0" cy="4653850"/>
            </a:xfrm>
            <a:prstGeom prst="line">
              <a:avLst/>
            </a:prstGeom>
            <a:ln w="762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4" name="Title 1">
            <a:extLst>
              <a:ext uri="{FF2B5EF4-FFF2-40B4-BE49-F238E27FC236}">
                <a16:creationId xmlns:a16="http://schemas.microsoft.com/office/drawing/2014/main" id="{343685D5-70C7-CA41-ABCE-080D9B275A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259682"/>
            <a:ext cx="10515600" cy="756000"/>
          </a:xfrm>
        </p:spPr>
        <p:txBody>
          <a:bodyPr>
            <a:normAutofit fontScale="90000"/>
          </a:bodyPr>
          <a:lstStyle/>
          <a:p>
            <a:r>
              <a:rPr lang="en-US" b="1"/>
              <a:t>Integrated approach </a:t>
            </a:r>
            <a:br>
              <a:rPr lang="en-US" b="1"/>
            </a:br>
            <a:r>
              <a:rPr lang="en-US" b="1"/>
              <a:t>to infrastructure development</a:t>
            </a:r>
          </a:p>
        </p:txBody>
      </p:sp>
    </p:spTree>
    <p:extLst>
      <p:ext uri="{BB962C8B-B14F-4D97-AF65-F5344CB8AC3E}">
        <p14:creationId xmlns:p14="http://schemas.microsoft.com/office/powerpoint/2010/main" val="40752398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lide Number Placeholder 29">
            <a:extLst>
              <a:ext uri="{FF2B5EF4-FFF2-40B4-BE49-F238E27FC236}">
                <a16:creationId xmlns:a16="http://schemas.microsoft.com/office/drawing/2014/main" id="{BD1C919F-4DE9-4937-8635-E49FE9A473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712AE6-0A2C-8540-9ACB-1C6BCF181E53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ALUE CHAIN </a:t>
            </a:r>
            <a:r>
              <a:rPr lang="en-US">
                <a:solidFill>
                  <a:schemeClr val="accent2"/>
                </a:solidFill>
              </a:rPr>
              <a:t>Financ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E8173D-9049-407D-9B46-2F644545C94C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ZA"/>
              <a:t>Development impact in areas of social and economic infrastructure</a:t>
            </a:r>
          </a:p>
        </p:txBody>
      </p:sp>
      <p:cxnSp>
        <p:nvCxnSpPr>
          <p:cNvPr id="9" name="Straight Connector 8"/>
          <p:cNvCxnSpPr>
            <a:cxnSpLocks/>
          </p:cNvCxnSpPr>
          <p:nvPr/>
        </p:nvCxnSpPr>
        <p:spPr>
          <a:xfrm>
            <a:off x="2287450" y="1738397"/>
            <a:ext cx="915532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92960" y="1432094"/>
            <a:ext cx="2462266" cy="21544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b" anchorCtr="0">
            <a:spAutoFit/>
          </a:bodyPr>
          <a:lstStyle>
            <a:lvl1pPr defTabSz="78740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17475" indent="-115888" defTabSz="78740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58763" indent="-138113" defTabSz="78740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376238" indent="-115888" defTabSz="78740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15938" indent="-139700" defTabSz="78740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973138" indent="-139700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30338" indent="-139700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887538" indent="-139700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344738" indent="-139700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>
              <a:spcBef>
                <a:spcPct val="0"/>
              </a:spcBef>
              <a:buClr>
                <a:srgbClr val="1F497D"/>
              </a:buClr>
            </a:pPr>
            <a:r>
              <a:rPr lang="en-GB" sz="1400" b="1">
                <a:solidFill>
                  <a:srgbClr val="402020"/>
                </a:solidFill>
                <a:latin typeface="Arial" panose="020B0604020202020204" pitchFamily="34" charset="0"/>
                <a:sym typeface="Tahoma"/>
              </a:rPr>
              <a:t>Description</a:t>
            </a:r>
          </a:p>
        </p:txBody>
      </p:sp>
      <p:sp>
        <p:nvSpPr>
          <p:cNvPr id="11" name="Rectangle 6"/>
          <p:cNvSpPr txBox="1">
            <a:spLocks/>
          </p:cNvSpPr>
          <p:nvPr/>
        </p:nvSpPr>
        <p:spPr bwMode="gray">
          <a:xfrm>
            <a:off x="758568" y="1714881"/>
            <a:ext cx="1363782" cy="1024791"/>
          </a:xfrm>
          <a:prstGeom prst="rect">
            <a:avLst/>
          </a:prstGeom>
          <a:solidFill>
            <a:srgbClr val="D34727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186158" tIns="73301" rIns="73301" bIns="73301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50" b="1" baseline="0">
                <a:solidFill>
                  <a:prstClr val="white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defTabSz="931185"/>
            <a:r>
              <a:rPr lang="en-US" sz="1200">
                <a:solidFill>
                  <a:schemeClr val="bg1"/>
                </a:solidFill>
              </a:rPr>
              <a:t>Bridging Finance</a:t>
            </a:r>
          </a:p>
        </p:txBody>
      </p:sp>
      <p:sp>
        <p:nvSpPr>
          <p:cNvPr id="12" name="Rectangle 6"/>
          <p:cNvSpPr txBox="1">
            <a:spLocks/>
          </p:cNvSpPr>
          <p:nvPr/>
        </p:nvSpPr>
        <p:spPr bwMode="gray">
          <a:xfrm>
            <a:off x="739502" y="2918507"/>
            <a:ext cx="1382848" cy="1752600"/>
          </a:xfrm>
          <a:prstGeom prst="rect">
            <a:avLst/>
          </a:prstGeom>
          <a:solidFill>
            <a:srgbClr val="D34727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186158" tIns="73301" rIns="73301" bIns="73301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50" b="1" baseline="0">
                <a:solidFill>
                  <a:prstClr val="white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/>
              <a:t>Long-term Facilities</a:t>
            </a:r>
          </a:p>
        </p:txBody>
      </p:sp>
      <p:sp>
        <p:nvSpPr>
          <p:cNvPr id="13" name="Rectangle 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82065" y="1432094"/>
            <a:ext cx="1547115" cy="21544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b" anchorCtr="0">
            <a:spAutoFit/>
          </a:bodyPr>
          <a:lstStyle>
            <a:lvl1pPr defTabSz="78740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17475" indent="-115888" defTabSz="78740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58763" indent="-138113" defTabSz="78740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376238" indent="-115888" defTabSz="78740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515938" indent="-139700" defTabSz="78740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973138" indent="-139700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430338" indent="-139700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1887538" indent="-139700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344738" indent="-139700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>
              <a:spcBef>
                <a:spcPct val="0"/>
              </a:spcBef>
              <a:buClr>
                <a:srgbClr val="1F497D"/>
              </a:buClr>
            </a:pPr>
            <a:r>
              <a:rPr lang="en-GB" sz="1400" b="1">
                <a:solidFill>
                  <a:srgbClr val="402020"/>
                </a:solidFill>
                <a:latin typeface="Arial" panose="020B0604020202020204" pitchFamily="34" charset="0"/>
                <a:sym typeface="Tahoma"/>
              </a:rPr>
              <a:t>Instruments</a:t>
            </a:r>
          </a:p>
        </p:txBody>
      </p:sp>
      <p:sp>
        <p:nvSpPr>
          <p:cNvPr id="14" name="Rectangle 31"/>
          <p:cNvSpPr txBox="1">
            <a:spLocks noChangeArrowheads="1"/>
          </p:cNvSpPr>
          <p:nvPr/>
        </p:nvSpPr>
        <p:spPr bwMode="gray">
          <a:xfrm>
            <a:off x="2305659" y="1799938"/>
            <a:ext cx="9124413" cy="8156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anchor="t" anchorCtr="0">
            <a:spAutoFit/>
          </a:bodyPr>
          <a:lstStyle>
            <a:defPPr>
              <a:defRPr lang="en-US"/>
            </a:defPPr>
            <a:lvl1pPr marL="285750" indent="-285750" defTabSz="931185">
              <a:lnSpc>
                <a:spcPct val="150000"/>
              </a:lnSpc>
              <a:buFont typeface="Wingdings" panose="05000000000000000000" pitchFamily="2" charset="2"/>
              <a:buChar char="§"/>
              <a:defRPr sz="1200"/>
            </a:lvl1pPr>
            <a:lvl2pPr marL="285750" lvl="1" indent="-285750" defTabSz="931185">
              <a:lnSpc>
                <a:spcPct val="150000"/>
              </a:lnSpc>
              <a:buFont typeface="Arial" panose="020B0604020202020204" pitchFamily="34" charset="0"/>
              <a:buChar char="―"/>
              <a:defRPr sz="1200"/>
            </a:lvl2pPr>
          </a:lstStyle>
          <a:p>
            <a:pPr>
              <a:buClr>
                <a:srgbClr val="D34727"/>
              </a:buClr>
            </a:pPr>
            <a:r>
              <a:rPr lang="en-US"/>
              <a:t>Bridging finance (BF) to assist with expediting grant funded projects or bridging proceeds of long-term loans. To be repaid within the same financial year</a:t>
            </a:r>
          </a:p>
          <a:p>
            <a:pPr>
              <a:buClr>
                <a:srgbClr val="D34727"/>
              </a:buClr>
            </a:pPr>
            <a:r>
              <a:rPr lang="en-US"/>
              <a:t>Conditional grants front loading – bridging of conditional grants over the MTREF (2-3 years)</a:t>
            </a:r>
          </a:p>
        </p:txBody>
      </p:sp>
      <p:sp>
        <p:nvSpPr>
          <p:cNvPr id="15" name="Rectangle 31"/>
          <p:cNvSpPr txBox="1">
            <a:spLocks noChangeArrowheads="1"/>
          </p:cNvSpPr>
          <p:nvPr/>
        </p:nvSpPr>
        <p:spPr bwMode="gray">
          <a:xfrm>
            <a:off x="2305660" y="2884515"/>
            <a:ext cx="9124412" cy="16466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anchor="t" anchorCtr="0">
            <a:spAutoFit/>
          </a:bodyPr>
          <a:lstStyle>
            <a:defPPr>
              <a:defRPr lang="en-US"/>
            </a:defPPr>
            <a:lvl1pPr marL="285750" indent="-285750" defTabSz="931185">
              <a:buFont typeface="Wingdings" panose="05000000000000000000" pitchFamily="2" charset="2"/>
              <a:buChar char="§"/>
              <a:defRPr sz="1200"/>
            </a:lvl1pPr>
          </a:lstStyle>
          <a:p>
            <a:pPr>
              <a:lnSpc>
                <a:spcPct val="150000"/>
              </a:lnSpc>
              <a:buClr>
                <a:srgbClr val="D34727"/>
              </a:buClr>
            </a:pPr>
            <a:r>
              <a:rPr lang="en-US"/>
              <a:t>On-balance sheet debt – vanilla loans and bonds up to 30 years</a:t>
            </a:r>
          </a:p>
          <a:p>
            <a:pPr>
              <a:lnSpc>
                <a:spcPct val="150000"/>
              </a:lnSpc>
              <a:buClr>
                <a:srgbClr val="D34727"/>
              </a:buClr>
            </a:pPr>
            <a:r>
              <a:rPr lang="en-US"/>
              <a:t>Project (cash-flows backed) Finance </a:t>
            </a:r>
          </a:p>
          <a:p>
            <a:pPr>
              <a:lnSpc>
                <a:spcPct val="150000"/>
              </a:lnSpc>
              <a:buClr>
                <a:srgbClr val="D34727"/>
              </a:buClr>
            </a:pPr>
            <a:r>
              <a:rPr lang="en-US"/>
              <a:t>Sculpted and structured loans that match the expected project cash flows</a:t>
            </a:r>
          </a:p>
          <a:p>
            <a:pPr>
              <a:lnSpc>
                <a:spcPct val="150000"/>
              </a:lnSpc>
              <a:buClr>
                <a:srgbClr val="D34727"/>
              </a:buClr>
            </a:pPr>
            <a:r>
              <a:rPr lang="en-US"/>
              <a:t>Blended loans (tenor and interest rates) through:</a:t>
            </a:r>
          </a:p>
          <a:p>
            <a:pPr marL="541338" lvl="1" indent="-271463" defTabSz="931185">
              <a:lnSpc>
                <a:spcPct val="150000"/>
              </a:lnSpc>
              <a:buClr>
                <a:srgbClr val="D34727"/>
              </a:buClr>
              <a:buFont typeface="Courier New" panose="02070309020205020404" pitchFamily="49" charset="0"/>
              <a:buChar char="o"/>
            </a:pPr>
            <a:r>
              <a:rPr lang="en-US" sz="1200"/>
              <a:t>International DFI credit lines, </a:t>
            </a:r>
          </a:p>
          <a:p>
            <a:pPr marL="541338" lvl="1" indent="-271463" defTabSz="931185">
              <a:lnSpc>
                <a:spcPct val="150000"/>
              </a:lnSpc>
              <a:buClr>
                <a:srgbClr val="D34727"/>
              </a:buClr>
              <a:buFont typeface="Courier New" panose="02070309020205020404" pitchFamily="49" charset="0"/>
              <a:buChar char="o"/>
            </a:pPr>
            <a:r>
              <a:rPr lang="en-US" sz="1200" err="1"/>
              <a:t>Mobilising</a:t>
            </a:r>
            <a:r>
              <a:rPr lang="en-US" sz="1200"/>
              <a:t> third party sector specific funds (e.g., GCF and GEF)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2122350" y="4674189"/>
            <a:ext cx="915532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31"/>
          <p:cNvSpPr txBox="1">
            <a:spLocks noChangeArrowheads="1"/>
          </p:cNvSpPr>
          <p:nvPr/>
        </p:nvSpPr>
        <p:spPr bwMode="gray">
          <a:xfrm>
            <a:off x="2274750" y="4898531"/>
            <a:ext cx="9155321" cy="10926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anchor="t" anchorCtr="0">
            <a:spAutoFit/>
          </a:bodyPr>
          <a:lstStyle>
            <a:defPPr>
              <a:defRPr lang="en-US"/>
            </a:defPPr>
            <a:lvl1pPr marL="285750" indent="-285750" defTabSz="931185">
              <a:lnSpc>
                <a:spcPct val="150000"/>
              </a:lnSpc>
              <a:buFont typeface="Wingdings" panose="05000000000000000000" pitchFamily="2" charset="2"/>
              <a:buChar char="§"/>
              <a:defRPr sz="1200"/>
            </a:lvl1pPr>
            <a:lvl2pPr marL="285750" lvl="1" indent="-285750" defTabSz="931185">
              <a:lnSpc>
                <a:spcPct val="150000"/>
              </a:lnSpc>
              <a:buFont typeface="Arial" panose="020B0604020202020204" pitchFamily="34" charset="0"/>
              <a:buChar char="―"/>
              <a:defRPr sz="1200"/>
            </a:lvl2pPr>
          </a:lstStyle>
          <a:p>
            <a:pPr>
              <a:buClr>
                <a:srgbClr val="D34727"/>
              </a:buClr>
            </a:pPr>
            <a:r>
              <a:rPr lang="en-US"/>
              <a:t>Credit guarantees and first loss instruments</a:t>
            </a:r>
          </a:p>
          <a:p>
            <a:pPr>
              <a:buClr>
                <a:srgbClr val="D34727"/>
              </a:buClr>
            </a:pPr>
            <a:r>
              <a:rPr lang="en-US"/>
              <a:t>Subordinated (mezzanine) debt instruments</a:t>
            </a:r>
          </a:p>
          <a:p>
            <a:pPr>
              <a:buClr>
                <a:srgbClr val="D34727"/>
              </a:buClr>
            </a:pPr>
            <a:r>
              <a:rPr lang="en-US" err="1"/>
              <a:t>Catalysing</a:t>
            </a:r>
            <a:r>
              <a:rPr lang="en-US"/>
              <a:t> of private sector (commercial banks and asset managers) funds by allowing private sector to take the shorter end with the DBSA taking the tail end of the deal</a:t>
            </a:r>
          </a:p>
        </p:txBody>
      </p:sp>
      <p:sp>
        <p:nvSpPr>
          <p:cNvPr id="19" name="Rectangle 6"/>
          <p:cNvSpPr txBox="1">
            <a:spLocks/>
          </p:cNvSpPr>
          <p:nvPr/>
        </p:nvSpPr>
        <p:spPr bwMode="gray">
          <a:xfrm>
            <a:off x="739502" y="4829615"/>
            <a:ext cx="1382848" cy="1402257"/>
          </a:xfrm>
          <a:prstGeom prst="rect">
            <a:avLst/>
          </a:prstGeom>
          <a:solidFill>
            <a:srgbClr val="D34727"/>
          </a:solidFill>
          <a:ln w="19050">
            <a:noFill/>
            <a:miter lim="800000"/>
            <a:headEnd/>
            <a:tailEnd/>
          </a:ln>
          <a:effectLst/>
        </p:spPr>
        <p:txBody>
          <a:bodyPr vert="horz" wrap="square" lIns="186158" tIns="73301" rIns="73301" bIns="73301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50" b="1" baseline="0">
                <a:solidFill>
                  <a:prstClr val="white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/>
              <a:t>Credit Enhancement Securitisation Structure</a:t>
            </a:r>
          </a:p>
        </p:txBody>
      </p:sp>
      <p:cxnSp>
        <p:nvCxnSpPr>
          <p:cNvPr id="20" name="Straight Connector 19"/>
          <p:cNvCxnSpPr/>
          <p:nvPr/>
        </p:nvCxnSpPr>
        <p:spPr>
          <a:xfrm>
            <a:off x="2122350" y="2739672"/>
            <a:ext cx="915532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10351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43BEA20-F4F8-2F45-947F-A07C8326ABC1}"/>
              </a:ext>
            </a:extLst>
          </p:cNvPr>
          <p:cNvSpPr/>
          <p:nvPr/>
        </p:nvSpPr>
        <p:spPr>
          <a:xfrm>
            <a:off x="0" y="3678554"/>
            <a:ext cx="12187275" cy="323826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78AF6A9-9A2A-4A44-8368-CC91E44285F4}"/>
              </a:ext>
            </a:extLst>
          </p:cNvPr>
          <p:cNvSpPr txBox="1"/>
          <p:nvPr/>
        </p:nvSpPr>
        <p:spPr>
          <a:xfrm>
            <a:off x="705484" y="2610963"/>
            <a:ext cx="11152514" cy="230832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ZA" sz="3200" i="1" dirty="0">
                <a:ea typeface="+mn-lt"/>
                <a:cs typeface="+mn-lt"/>
              </a:rPr>
              <a:t>"The care for human life and happiness, and not their destruction, is the first and only object of good government"</a:t>
            </a:r>
            <a:endParaRPr lang="en-US" sz="3200" i="1" dirty="0"/>
          </a:p>
          <a:p>
            <a:r>
              <a:rPr lang="en-ZA" sz="4000" b="1" dirty="0">
                <a:ea typeface="+mn-lt"/>
                <a:cs typeface="+mn-lt"/>
                <a:hlinkClick r:id="rId2"/>
              </a:rPr>
              <a:t>Thomas Jefferson</a:t>
            </a:r>
            <a:endParaRPr lang="en-ZA" dirty="0"/>
          </a:p>
          <a:p>
            <a:pPr algn="ctr"/>
            <a:endParaRPr lang="en-ZA" sz="4000" b="1">
              <a:solidFill>
                <a:schemeClr val="accent1"/>
              </a:solidFill>
              <a:latin typeface="+mj-lt"/>
              <a:cs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48320B0-B13F-8047-B119-42E008FE1D16}"/>
              </a:ext>
            </a:extLst>
          </p:cNvPr>
          <p:cNvSpPr/>
          <p:nvPr/>
        </p:nvSpPr>
        <p:spPr>
          <a:xfrm>
            <a:off x="9983449" y="224852"/>
            <a:ext cx="2008682" cy="10043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44ADAF-760C-9C45-8CDB-234955A2DB0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39199" y="224852"/>
            <a:ext cx="2652932" cy="139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2851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43BEA20-F4F8-2F45-947F-A07C8326ABC1}"/>
              </a:ext>
            </a:extLst>
          </p:cNvPr>
          <p:cNvSpPr/>
          <p:nvPr/>
        </p:nvSpPr>
        <p:spPr>
          <a:xfrm>
            <a:off x="0" y="3043555"/>
            <a:ext cx="12187275" cy="38732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78AF6A9-9A2A-4A44-8368-CC91E44285F4}"/>
              </a:ext>
            </a:extLst>
          </p:cNvPr>
          <p:cNvSpPr txBox="1"/>
          <p:nvPr/>
        </p:nvSpPr>
        <p:spPr>
          <a:xfrm>
            <a:off x="3819512" y="4227616"/>
            <a:ext cx="45482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4000" b="1">
                <a:solidFill>
                  <a:schemeClr val="accent1"/>
                </a:solidFill>
                <a:latin typeface="+mj-lt"/>
              </a:rPr>
              <a:t>THANK YOU</a:t>
            </a:r>
            <a:endParaRPr lang="en-US" sz="4000" b="1"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48320B0-B13F-8047-B119-42E008FE1D16}"/>
              </a:ext>
            </a:extLst>
          </p:cNvPr>
          <p:cNvSpPr/>
          <p:nvPr/>
        </p:nvSpPr>
        <p:spPr>
          <a:xfrm>
            <a:off x="9983449" y="224852"/>
            <a:ext cx="2008682" cy="10043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44ADAF-760C-9C45-8CDB-234955A2DB0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39199" y="224852"/>
            <a:ext cx="2652932" cy="139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6953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V_uIxRcUSHMvcPX4vu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fcX_oakxR0a3pUBJ1lTq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z0SKa_FkCsRJbDI3Gd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38.25"/>
  <p:tag name="LLEFT" val=" 144.12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38.25"/>
  <p:tag name="LLEFT" val=" 144.125"/>
</p:tagLst>
</file>

<file path=ppt/theme/theme1.xml><?xml version="1.0" encoding="utf-8"?>
<a:theme xmlns:a="http://schemas.openxmlformats.org/drawingml/2006/main" name="Office Theme">
  <a:themeElements>
    <a:clrScheme name="2019 DBSA">
      <a:dk1>
        <a:sysClr val="windowText" lastClr="000000"/>
      </a:dk1>
      <a:lt1>
        <a:sysClr val="window" lastClr="FFFFFF"/>
      </a:lt1>
      <a:dk2>
        <a:srgbClr val="301C16"/>
      </a:dk2>
      <a:lt2>
        <a:srgbClr val="E6E7E8"/>
      </a:lt2>
      <a:accent1>
        <a:srgbClr val="FBB040"/>
      </a:accent1>
      <a:accent2>
        <a:srgbClr val="E24F25"/>
      </a:accent2>
      <a:accent3>
        <a:srgbClr val="757070"/>
      </a:accent3>
      <a:accent4>
        <a:srgbClr val="301C16"/>
      </a:accent4>
      <a:accent5>
        <a:srgbClr val="C00000"/>
      </a:accent5>
      <a:accent6>
        <a:srgbClr val="AFBE24"/>
      </a:accent6>
      <a:hlink>
        <a:srgbClr val="E24F25"/>
      </a:hlink>
      <a:folHlink>
        <a:srgbClr val="FBB040"/>
      </a:folHlink>
    </a:clrScheme>
    <a:fontScheme name="2019 DBS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01e433a-3dff-4bfe-9b43-eca30fbe256c" xsi:nil="true"/>
    <lcf76f155ced4ddcb4097134ff3c332f xmlns="6ad1c946-227f-456b-a52f-005e356255ac">
      <Terms xmlns="http://schemas.microsoft.com/office/infopath/2007/PartnerControls"/>
    </lcf76f155ced4ddcb4097134ff3c332f>
    <SharedWithUsers xmlns="d01e433a-3dff-4bfe-9b43-eca30fbe256c">
      <UserInfo>
        <DisplayName>Bongo Bacela</DisplayName>
        <AccountId>1966</AccountId>
        <AccountType/>
      </UserInfo>
      <UserInfo>
        <DisplayName>Huli Makhuvha</DisplayName>
        <AccountId>1965</AccountId>
        <AccountType/>
      </UserInfo>
      <UserInfo>
        <DisplayName>Brian Dlamini</DisplayName>
        <AccountId>118</AccountId>
        <AccountType/>
      </UserInfo>
      <UserInfo>
        <DisplayName>Desiree Mojanaga</DisplayName>
        <AccountId>525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9FA6F25C383F945BC7A542EABA0DCD0" ma:contentTypeVersion="16" ma:contentTypeDescription="Create a new document." ma:contentTypeScope="" ma:versionID="9b85952f303d83b82451f4bbe9d9ad92">
  <xsd:schema xmlns:xsd="http://www.w3.org/2001/XMLSchema" xmlns:xs="http://www.w3.org/2001/XMLSchema" xmlns:p="http://schemas.microsoft.com/office/2006/metadata/properties" xmlns:ns2="6ad1c946-227f-456b-a52f-005e356255ac" xmlns:ns3="d01e433a-3dff-4bfe-9b43-eca30fbe256c" targetNamespace="http://schemas.microsoft.com/office/2006/metadata/properties" ma:root="true" ma:fieldsID="18c331466bb06c2ca49c66b464efc3f1" ns2:_="" ns3:_="">
    <xsd:import namespace="6ad1c946-227f-456b-a52f-005e356255ac"/>
    <xsd:import namespace="d01e433a-3dff-4bfe-9b43-eca30fbe256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ad1c946-227f-456b-a52f-005e356255a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88d0f230-8c22-4e9e-affb-a464a7e9059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01e433a-3dff-4bfe-9b43-eca30fbe256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1c492de6-2ff0-4ce1-83ac-e6b58917b8f1}" ma:internalName="TaxCatchAll" ma:showField="CatchAllData" ma:web="d01e433a-3dff-4bfe-9b43-eca30fbe256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57831D9-5C5E-4BA3-A653-B54B878542E0}">
  <ds:schemaRefs>
    <ds:schemaRef ds:uri="8d2c4dda-5f5a-4144-8479-953d144bccd2"/>
    <ds:schemaRef ds:uri="e2367077-0f33-43fc-bc91-6d8cd00a4610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92BD3E47-07BA-4448-B24D-CC1ACE19E02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9523640-F72A-4DBD-947E-85B14A971556}"/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8</Slides>
  <Notes>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9" baseType="lpstr">
      <vt:lpstr>Office Theme</vt:lpstr>
      <vt:lpstr>The role of sovereign funds</vt:lpstr>
      <vt:lpstr>The role of governments?</vt:lpstr>
      <vt:lpstr>Introduction TO DBSA</vt:lpstr>
      <vt:lpstr>Introduction</vt:lpstr>
      <vt:lpstr>Integrated approach  to infrastructure development</vt:lpstr>
      <vt:lpstr>VALUE CHAIN Financing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olatelo Hlapa</dc:creator>
  <cp:revision>15</cp:revision>
  <cp:lastPrinted>2019-03-14T09:22:34Z</cp:lastPrinted>
  <dcterms:created xsi:type="dcterms:W3CDTF">2019-03-11T20:03:28Z</dcterms:created>
  <dcterms:modified xsi:type="dcterms:W3CDTF">2022-09-15T08:16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44A28066096B47AA93B542BE485E8E</vt:lpwstr>
  </property>
  <property fmtid="{D5CDD505-2E9C-101B-9397-08002B2CF9AE}" pid="3" name="MediaServiceImageTags">
    <vt:lpwstr/>
  </property>
</Properties>
</file>